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mp3" ContentType="audio/mpe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1"/>
  </p:notesMasterIdLst>
  <p:sldIdLst>
    <p:sldId id="276" r:id="rId3"/>
    <p:sldId id="257" r:id="rId4"/>
    <p:sldId id="256" r:id="rId5"/>
    <p:sldId id="258" r:id="rId6"/>
    <p:sldId id="259" r:id="rId7"/>
    <p:sldId id="260" r:id="rId8"/>
    <p:sldId id="261" r:id="rId9"/>
    <p:sldId id="262" r:id="rId10"/>
    <p:sldId id="301" r:id="rId11"/>
    <p:sldId id="264" r:id="rId12"/>
    <p:sldId id="266" r:id="rId13"/>
    <p:sldId id="280" r:id="rId14"/>
    <p:sldId id="309" r:id="rId15"/>
    <p:sldId id="278" r:id="rId16"/>
    <p:sldId id="267" r:id="rId17"/>
    <p:sldId id="289" r:id="rId18"/>
    <p:sldId id="302" r:id="rId19"/>
    <p:sldId id="312" r:id="rId20"/>
    <p:sldId id="310" r:id="rId21"/>
    <p:sldId id="296" r:id="rId22"/>
    <p:sldId id="282" r:id="rId23"/>
    <p:sldId id="304" r:id="rId24"/>
    <p:sldId id="307" r:id="rId25"/>
    <p:sldId id="306" r:id="rId26"/>
    <p:sldId id="305" r:id="rId27"/>
    <p:sldId id="308" r:id="rId28"/>
    <p:sldId id="297" r:id="rId29"/>
    <p:sldId id="281" r:id="rId30"/>
  </p:sldIdLst>
  <p:sldSz cx="12192000" cy="6858000"/>
  <p:notesSz cx="6858000" cy="9144000"/>
  <p:custDataLst>
    <p:tags r:id="rId32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40074" autoAdjust="0"/>
    <p:restoredTop sz="94660"/>
  </p:normalViewPr>
  <p:slideViewPr>
    <p:cSldViewPr snapToGrid="0" showGuides="1">
      <p:cViewPr varScale="1">
        <p:scale>
          <a:sx n="74" d="100"/>
          <a:sy n="74" d="100"/>
        </p:scale>
        <p:origin x="96" y="29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8CF765-13F4-4449-A5AE-A6251138FCFB}" type="datetimeFigureOut">
              <a:rPr lang="nl-NL" smtClean="0"/>
              <a:t>7-2-2017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4BB14F-BB5B-42DE-9262-FA4942927BD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547057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 om de ondertitelstijl van het model te bewerken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89F27E-422A-4E12-95B1-1482C50EEF30}" type="datetimeFigureOut">
              <a:rPr lang="en-GB" smtClean="0"/>
              <a:pPr/>
              <a:t>07/02/2017</a:t>
            </a:fld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3A511-9BA9-48D2-9522-FB8C0CE6CE83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45681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89F27E-422A-4E12-95B1-1482C50EEF30}" type="datetimeFigureOut">
              <a:rPr lang="en-GB" smtClean="0"/>
              <a:pPr/>
              <a:t>07/02/2017</a:t>
            </a:fld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3A511-9BA9-48D2-9522-FB8C0CE6CE83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17220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89F27E-422A-4E12-95B1-1482C50EEF30}" type="datetimeFigureOut">
              <a:rPr lang="en-GB" smtClean="0"/>
              <a:pPr/>
              <a:t>07/02/2017</a:t>
            </a:fld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3A511-9BA9-48D2-9522-FB8C0CE6CE83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03538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 om de ondertitelstijl van het model te bewerken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49283B-D0A5-4A08-BBD2-4B6083C36C1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7/02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EFD20F-7C26-46BC-B986-246AEE47D3F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49997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49283B-D0A5-4A08-BBD2-4B6083C36C1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7/02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EFD20F-7C26-46BC-B986-246AEE47D3F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64750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49283B-D0A5-4A08-BBD2-4B6083C36C1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7/02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EFD20F-7C26-46BC-B986-246AEE47D3F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44370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49283B-D0A5-4A08-BBD2-4B6083C36C1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7/02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EFD20F-7C26-46BC-B986-246AEE47D3F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08924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7" name="Tijdelijke aanduiding voo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49283B-D0A5-4A08-BBD2-4B6083C36C1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7/02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ijdelijke aanduiding voor voet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Tijdelijke aanduiding voor dia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EFD20F-7C26-46BC-B986-246AEE47D3F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16936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49283B-D0A5-4A08-BBD2-4B6083C36C1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7/02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EFD20F-7C26-46BC-B986-246AEE47D3F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42795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49283B-D0A5-4A08-BBD2-4B6083C36C1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7/02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EFD20F-7C26-46BC-B986-246AEE47D3F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22344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49283B-D0A5-4A08-BBD2-4B6083C36C1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7/02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EFD20F-7C26-46BC-B986-246AEE47D3F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6977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89F27E-422A-4E12-95B1-1482C50EEF30}" type="datetimeFigureOut">
              <a:rPr lang="en-GB" smtClean="0"/>
              <a:pPr/>
              <a:t>07/02/2017</a:t>
            </a:fld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3A511-9BA9-48D2-9522-FB8C0CE6CE83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81553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49283B-D0A5-4A08-BBD2-4B6083C36C1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7/02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EFD20F-7C26-46BC-B986-246AEE47D3F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04329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49283B-D0A5-4A08-BBD2-4B6083C36C1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7/02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EFD20F-7C26-46BC-B986-246AEE47D3F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130855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49283B-D0A5-4A08-BBD2-4B6083C36C1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7/02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EFD20F-7C26-46BC-B986-246AEE47D3F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20948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89F27E-422A-4E12-95B1-1482C50EEF30}" type="datetimeFigureOut">
              <a:rPr lang="en-GB" smtClean="0"/>
              <a:pPr/>
              <a:t>07/02/2017</a:t>
            </a:fld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3A511-9BA9-48D2-9522-FB8C0CE6CE83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2313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89F27E-422A-4E12-95B1-1482C50EEF30}" type="datetimeFigureOut">
              <a:rPr lang="en-GB" smtClean="0"/>
              <a:pPr/>
              <a:t>07/02/2017</a:t>
            </a:fld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3A511-9BA9-48D2-9522-FB8C0CE6CE83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35730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7" name="Tijdelijke aanduiding voo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89F27E-422A-4E12-95B1-1482C50EEF30}" type="datetimeFigureOut">
              <a:rPr lang="en-GB" smtClean="0"/>
              <a:pPr/>
              <a:t>07/02/2017</a:t>
            </a:fld>
            <a:endParaRPr lang="en-GB"/>
          </a:p>
        </p:txBody>
      </p:sp>
      <p:sp>
        <p:nvSpPr>
          <p:cNvPr id="8" name="Tijdelijke aanduiding voor voet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Tijdelijke aanduiding voor dia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3A511-9BA9-48D2-9522-FB8C0CE6CE83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48695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89F27E-422A-4E12-95B1-1482C50EEF30}" type="datetimeFigureOut">
              <a:rPr lang="en-GB" smtClean="0"/>
              <a:pPr/>
              <a:t>07/02/2017</a:t>
            </a:fld>
            <a:endParaRPr lang="en-GB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3A511-9BA9-48D2-9522-FB8C0CE6CE83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0366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89F27E-422A-4E12-95B1-1482C50EEF30}" type="datetimeFigureOut">
              <a:rPr lang="en-GB" smtClean="0"/>
              <a:pPr/>
              <a:t>07/02/2017</a:t>
            </a:fld>
            <a:endParaRPr lang="en-GB"/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3A511-9BA9-48D2-9522-FB8C0CE6CE83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75718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89F27E-422A-4E12-95B1-1482C50EEF30}" type="datetimeFigureOut">
              <a:rPr lang="en-GB" smtClean="0"/>
              <a:pPr/>
              <a:t>07/02/2017</a:t>
            </a:fld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3A511-9BA9-48D2-9522-FB8C0CE6CE83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25080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89F27E-422A-4E12-95B1-1482C50EEF30}" type="datetimeFigureOut">
              <a:rPr lang="en-GB" smtClean="0"/>
              <a:pPr/>
              <a:t>07/02/2017</a:t>
            </a:fld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3A511-9BA9-48D2-9522-FB8C0CE6CE83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98065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6818621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3" name="think-cell Slide" r:id="rId15" imgW="270" imgH="270" progId="">
                  <p:embed/>
                </p:oleObj>
              </mc:Choice>
              <mc:Fallback>
                <p:oleObj name="think-cell Slide" r:id="rId15" imgW="270" imgH="270" progId="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A89F27E-422A-4E12-95B1-1482C50EEF30}" type="datetimeFigureOut">
              <a:rPr lang="en-GB" smtClean="0"/>
              <a:pPr/>
              <a:t>07/02/2017</a:t>
            </a:fld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B3A511-9BA9-48D2-9522-FB8C0CE6CE83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7089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2" name="think-cell Slide" r:id="rId15" imgW="270" imgH="270" progId="">
                  <p:embed/>
                </p:oleObj>
              </mc:Choice>
              <mc:Fallback>
                <p:oleObj name="think-cell Slide" r:id="rId15" imgW="270" imgH="27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49283B-D0A5-4A08-BBD2-4B6083C36C1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7/02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EFD20F-7C26-46BC-B986-246AEE47D3F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7460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2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.xml"/><Relationship Id="rId7" Type="http://schemas.openxmlformats.org/officeDocument/2006/relationships/oleObject" Target="../embeddings/oleObject3.bin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slideLayout" Target="../slideLayouts/slideLayout7.xml"/><Relationship Id="rId5" Type="http://schemas.openxmlformats.org/officeDocument/2006/relationships/audio" Target="../media/media1.mp3"/><Relationship Id="rId10" Type="http://schemas.openxmlformats.org/officeDocument/2006/relationships/image" Target="../media/image4.png"/><Relationship Id="rId4" Type="http://schemas.microsoft.com/office/2007/relationships/media" Target="../media/media1.mp3"/><Relationship Id="rId9" Type="http://schemas.openxmlformats.org/officeDocument/2006/relationships/image" Target="../media/image3.jpe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8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0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2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4.jpe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35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5.jpe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vak 1"/>
          <p:cNvSpPr txBox="1"/>
          <p:nvPr/>
        </p:nvSpPr>
        <p:spPr>
          <a:xfrm>
            <a:off x="-1228570" y="2801071"/>
            <a:ext cx="982690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6600" dirty="0" err="1">
                <a:solidFill>
                  <a:schemeClr val="bg1"/>
                </a:solidFill>
                <a:latin typeface="Calibri Light" pitchFamily="34" charset="0"/>
              </a:rPr>
              <a:t>Vision</a:t>
            </a:r>
            <a:endParaRPr lang="nl-NL" sz="4800" dirty="0">
              <a:solidFill>
                <a:schemeClr val="bg1"/>
              </a:solidFill>
              <a:latin typeface="Calibri Light" pitchFamily="34" charset="0"/>
            </a:endParaRPr>
          </a:p>
        </p:txBody>
      </p:sp>
      <p:pic>
        <p:nvPicPr>
          <p:cNvPr id="17409" name="Picture 1" descr="D:\Projecten\AB_de Stelling\Logo\Logo de stelling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892565" y="2801071"/>
            <a:ext cx="5405113" cy="108536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11659419"/>
      </p:ext>
    </p:extLst>
  </p:cSld>
  <p:clrMapOvr>
    <a:masterClrMapping/>
  </p:clrMapOvr>
  <p:transition advTm="2000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" name="Object 6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6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18" name="Groep 317"/>
          <p:cNvGrpSpPr/>
          <p:nvPr/>
        </p:nvGrpSpPr>
        <p:grpSpPr>
          <a:xfrm>
            <a:off x="698500" y="1739900"/>
            <a:ext cx="2527300" cy="2527300"/>
            <a:chOff x="698500" y="1739900"/>
            <a:chExt cx="2527300" cy="2527300"/>
          </a:xfrm>
        </p:grpSpPr>
        <p:grpSp>
          <p:nvGrpSpPr>
            <p:cNvPr id="317" name="Groep 316"/>
            <p:cNvGrpSpPr/>
            <p:nvPr/>
          </p:nvGrpSpPr>
          <p:grpSpPr>
            <a:xfrm>
              <a:off x="752590" y="2320131"/>
              <a:ext cx="2419120" cy="1366839"/>
              <a:chOff x="-3184526" y="6856412"/>
              <a:chExt cx="3748089" cy="2117726"/>
            </a:xfrm>
          </p:grpSpPr>
          <p:sp>
            <p:nvSpPr>
              <p:cNvPr id="153" name="Freeform 60"/>
              <p:cNvSpPr>
                <a:spLocks/>
              </p:cNvSpPr>
              <p:nvPr/>
            </p:nvSpPr>
            <p:spPr bwMode="auto">
              <a:xfrm>
                <a:off x="309563" y="7526338"/>
                <a:ext cx="65088" cy="11113"/>
              </a:xfrm>
              <a:custGeom>
                <a:avLst/>
                <a:gdLst>
                  <a:gd name="T0" fmla="*/ 40 w 46"/>
                  <a:gd name="T1" fmla="*/ 8 h 8"/>
                  <a:gd name="T2" fmla="*/ 5 w 46"/>
                  <a:gd name="T3" fmla="*/ 8 h 8"/>
                  <a:gd name="T4" fmla="*/ 0 w 46"/>
                  <a:gd name="T5" fmla="*/ 4 h 8"/>
                  <a:gd name="T6" fmla="*/ 5 w 46"/>
                  <a:gd name="T7" fmla="*/ 0 h 8"/>
                  <a:gd name="T8" fmla="*/ 40 w 46"/>
                  <a:gd name="T9" fmla="*/ 0 h 8"/>
                  <a:gd name="T10" fmla="*/ 46 w 46"/>
                  <a:gd name="T11" fmla="*/ 4 h 8"/>
                  <a:gd name="T12" fmla="*/ 40 w 46"/>
                  <a:gd name="T1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" h="8">
                    <a:moveTo>
                      <a:pt x="40" y="8"/>
                    </a:moveTo>
                    <a:cubicBezTo>
                      <a:pt x="5" y="8"/>
                      <a:pt x="5" y="8"/>
                      <a:pt x="5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3" y="0"/>
                      <a:pt x="46" y="2"/>
                      <a:pt x="46" y="4"/>
                    </a:cubicBezTo>
                    <a:cubicBezTo>
                      <a:pt x="46" y="6"/>
                      <a:pt x="43" y="8"/>
                      <a:pt x="40" y="8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54" name="Freeform 61"/>
              <p:cNvSpPr>
                <a:spLocks/>
              </p:cNvSpPr>
              <p:nvPr/>
            </p:nvSpPr>
            <p:spPr bwMode="auto">
              <a:xfrm>
                <a:off x="273050" y="7526338"/>
                <a:ext cx="52388" cy="1384300"/>
              </a:xfrm>
              <a:custGeom>
                <a:avLst/>
                <a:gdLst>
                  <a:gd name="T0" fmla="*/ 5 w 36"/>
                  <a:gd name="T1" fmla="*/ 962 h 962"/>
                  <a:gd name="T2" fmla="*/ 5 w 36"/>
                  <a:gd name="T3" fmla="*/ 962 h 962"/>
                  <a:gd name="T4" fmla="*/ 0 w 36"/>
                  <a:gd name="T5" fmla="*/ 958 h 962"/>
                  <a:gd name="T6" fmla="*/ 25 w 36"/>
                  <a:gd name="T7" fmla="*/ 4 h 962"/>
                  <a:gd name="T8" fmla="*/ 30 w 36"/>
                  <a:gd name="T9" fmla="*/ 0 h 962"/>
                  <a:gd name="T10" fmla="*/ 30 w 36"/>
                  <a:gd name="T11" fmla="*/ 0 h 962"/>
                  <a:gd name="T12" fmla="*/ 36 w 36"/>
                  <a:gd name="T13" fmla="*/ 4 h 962"/>
                  <a:gd name="T14" fmla="*/ 11 w 36"/>
                  <a:gd name="T15" fmla="*/ 958 h 962"/>
                  <a:gd name="T16" fmla="*/ 5 w 36"/>
                  <a:gd name="T17" fmla="*/ 962 h 9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6" h="962">
                    <a:moveTo>
                      <a:pt x="5" y="962"/>
                    </a:moveTo>
                    <a:cubicBezTo>
                      <a:pt x="5" y="962"/>
                      <a:pt x="5" y="962"/>
                      <a:pt x="5" y="962"/>
                    </a:cubicBezTo>
                    <a:cubicBezTo>
                      <a:pt x="2" y="962"/>
                      <a:pt x="0" y="960"/>
                      <a:pt x="0" y="958"/>
                    </a:cubicBezTo>
                    <a:cubicBezTo>
                      <a:pt x="25" y="4"/>
                      <a:pt x="25" y="4"/>
                      <a:pt x="25" y="4"/>
                    </a:cubicBezTo>
                    <a:cubicBezTo>
                      <a:pt x="25" y="2"/>
                      <a:pt x="27" y="0"/>
                      <a:pt x="30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3" y="0"/>
                      <a:pt x="36" y="2"/>
                      <a:pt x="36" y="4"/>
                    </a:cubicBezTo>
                    <a:cubicBezTo>
                      <a:pt x="11" y="958"/>
                      <a:pt x="11" y="958"/>
                      <a:pt x="11" y="958"/>
                    </a:cubicBezTo>
                    <a:cubicBezTo>
                      <a:pt x="11" y="960"/>
                      <a:pt x="8" y="962"/>
                      <a:pt x="5" y="962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55" name="Freeform 62"/>
              <p:cNvSpPr>
                <a:spLocks/>
              </p:cNvSpPr>
              <p:nvPr/>
            </p:nvSpPr>
            <p:spPr bwMode="auto">
              <a:xfrm>
                <a:off x="358775" y="7526338"/>
                <a:ext cx="52388" cy="1384300"/>
              </a:xfrm>
              <a:custGeom>
                <a:avLst/>
                <a:gdLst>
                  <a:gd name="T0" fmla="*/ 30 w 36"/>
                  <a:gd name="T1" fmla="*/ 962 h 962"/>
                  <a:gd name="T2" fmla="*/ 25 w 36"/>
                  <a:gd name="T3" fmla="*/ 958 h 962"/>
                  <a:gd name="T4" fmla="*/ 0 w 36"/>
                  <a:gd name="T5" fmla="*/ 4 h 962"/>
                  <a:gd name="T6" fmla="*/ 5 w 36"/>
                  <a:gd name="T7" fmla="*/ 0 h 962"/>
                  <a:gd name="T8" fmla="*/ 5 w 36"/>
                  <a:gd name="T9" fmla="*/ 0 h 962"/>
                  <a:gd name="T10" fmla="*/ 11 w 36"/>
                  <a:gd name="T11" fmla="*/ 4 h 962"/>
                  <a:gd name="T12" fmla="*/ 36 w 36"/>
                  <a:gd name="T13" fmla="*/ 958 h 962"/>
                  <a:gd name="T14" fmla="*/ 30 w 36"/>
                  <a:gd name="T15" fmla="*/ 962 h 962"/>
                  <a:gd name="T16" fmla="*/ 30 w 36"/>
                  <a:gd name="T17" fmla="*/ 962 h 9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6" h="962">
                    <a:moveTo>
                      <a:pt x="30" y="962"/>
                    </a:moveTo>
                    <a:cubicBezTo>
                      <a:pt x="27" y="962"/>
                      <a:pt x="25" y="960"/>
                      <a:pt x="25" y="958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8" y="0"/>
                      <a:pt x="11" y="2"/>
                      <a:pt x="11" y="4"/>
                    </a:cubicBezTo>
                    <a:cubicBezTo>
                      <a:pt x="36" y="958"/>
                      <a:pt x="36" y="958"/>
                      <a:pt x="36" y="958"/>
                    </a:cubicBezTo>
                    <a:cubicBezTo>
                      <a:pt x="36" y="960"/>
                      <a:pt x="33" y="962"/>
                      <a:pt x="30" y="962"/>
                    </a:cubicBezTo>
                    <a:cubicBezTo>
                      <a:pt x="30" y="962"/>
                      <a:pt x="30" y="962"/>
                      <a:pt x="30" y="962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56" name="Freeform 63"/>
              <p:cNvSpPr>
                <a:spLocks/>
              </p:cNvSpPr>
              <p:nvPr/>
            </p:nvSpPr>
            <p:spPr bwMode="auto">
              <a:xfrm>
                <a:off x="277813" y="8836025"/>
                <a:ext cx="133350" cy="73025"/>
              </a:xfrm>
              <a:custGeom>
                <a:avLst/>
                <a:gdLst>
                  <a:gd name="T0" fmla="*/ 4 w 93"/>
                  <a:gd name="T1" fmla="*/ 51 h 51"/>
                  <a:gd name="T2" fmla="*/ 1 w 93"/>
                  <a:gd name="T3" fmla="*/ 50 h 51"/>
                  <a:gd name="T4" fmla="*/ 2 w 93"/>
                  <a:gd name="T5" fmla="*/ 45 h 51"/>
                  <a:gd name="T6" fmla="*/ 86 w 93"/>
                  <a:gd name="T7" fmla="*/ 1 h 51"/>
                  <a:gd name="T8" fmla="*/ 91 w 93"/>
                  <a:gd name="T9" fmla="*/ 2 h 51"/>
                  <a:gd name="T10" fmla="*/ 91 w 93"/>
                  <a:gd name="T11" fmla="*/ 6 h 51"/>
                  <a:gd name="T12" fmla="*/ 7 w 93"/>
                  <a:gd name="T13" fmla="*/ 50 h 51"/>
                  <a:gd name="T14" fmla="*/ 4 w 93"/>
                  <a:gd name="T15" fmla="*/ 5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3" h="51">
                    <a:moveTo>
                      <a:pt x="4" y="51"/>
                    </a:moveTo>
                    <a:cubicBezTo>
                      <a:pt x="3" y="51"/>
                      <a:pt x="2" y="50"/>
                      <a:pt x="1" y="50"/>
                    </a:cubicBezTo>
                    <a:cubicBezTo>
                      <a:pt x="0" y="48"/>
                      <a:pt x="0" y="46"/>
                      <a:pt x="2" y="45"/>
                    </a:cubicBezTo>
                    <a:cubicBezTo>
                      <a:pt x="86" y="1"/>
                      <a:pt x="86" y="1"/>
                      <a:pt x="86" y="1"/>
                    </a:cubicBezTo>
                    <a:cubicBezTo>
                      <a:pt x="88" y="0"/>
                      <a:pt x="90" y="1"/>
                      <a:pt x="91" y="2"/>
                    </a:cubicBezTo>
                    <a:cubicBezTo>
                      <a:pt x="93" y="3"/>
                      <a:pt x="92" y="5"/>
                      <a:pt x="91" y="6"/>
                    </a:cubicBezTo>
                    <a:cubicBezTo>
                      <a:pt x="7" y="50"/>
                      <a:pt x="7" y="50"/>
                      <a:pt x="7" y="50"/>
                    </a:cubicBezTo>
                    <a:cubicBezTo>
                      <a:pt x="6" y="51"/>
                      <a:pt x="5" y="51"/>
                      <a:pt x="4" y="5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57" name="Freeform 64"/>
              <p:cNvSpPr>
                <a:spLocks/>
              </p:cNvSpPr>
              <p:nvPr/>
            </p:nvSpPr>
            <p:spPr bwMode="auto">
              <a:xfrm>
                <a:off x="279400" y="8753475"/>
                <a:ext cx="130175" cy="92075"/>
              </a:xfrm>
              <a:custGeom>
                <a:avLst/>
                <a:gdLst>
                  <a:gd name="T0" fmla="*/ 86 w 90"/>
                  <a:gd name="T1" fmla="*/ 64 h 64"/>
                  <a:gd name="T2" fmla="*/ 83 w 90"/>
                  <a:gd name="T3" fmla="*/ 63 h 64"/>
                  <a:gd name="T4" fmla="*/ 2 w 90"/>
                  <a:gd name="T5" fmla="*/ 5 h 64"/>
                  <a:gd name="T6" fmla="*/ 2 w 90"/>
                  <a:gd name="T7" fmla="*/ 1 h 64"/>
                  <a:gd name="T8" fmla="*/ 8 w 90"/>
                  <a:gd name="T9" fmla="*/ 1 h 64"/>
                  <a:gd name="T10" fmla="*/ 89 w 90"/>
                  <a:gd name="T11" fmla="*/ 59 h 64"/>
                  <a:gd name="T12" fmla="*/ 89 w 90"/>
                  <a:gd name="T13" fmla="*/ 63 h 64"/>
                  <a:gd name="T14" fmla="*/ 86 w 90"/>
                  <a:gd name="T1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0" h="64">
                    <a:moveTo>
                      <a:pt x="86" y="64"/>
                    </a:moveTo>
                    <a:cubicBezTo>
                      <a:pt x="85" y="64"/>
                      <a:pt x="84" y="64"/>
                      <a:pt x="83" y="63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0" y="4"/>
                      <a:pt x="0" y="2"/>
                      <a:pt x="2" y="1"/>
                    </a:cubicBezTo>
                    <a:cubicBezTo>
                      <a:pt x="3" y="0"/>
                      <a:pt x="6" y="0"/>
                      <a:pt x="8" y="1"/>
                    </a:cubicBezTo>
                    <a:cubicBezTo>
                      <a:pt x="89" y="59"/>
                      <a:pt x="89" y="59"/>
                      <a:pt x="89" y="59"/>
                    </a:cubicBezTo>
                    <a:cubicBezTo>
                      <a:pt x="90" y="60"/>
                      <a:pt x="90" y="62"/>
                      <a:pt x="89" y="63"/>
                    </a:cubicBezTo>
                    <a:cubicBezTo>
                      <a:pt x="88" y="64"/>
                      <a:pt x="87" y="64"/>
                      <a:pt x="86" y="64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58" name="Freeform 65"/>
              <p:cNvSpPr>
                <a:spLocks/>
              </p:cNvSpPr>
              <p:nvPr/>
            </p:nvSpPr>
            <p:spPr bwMode="auto">
              <a:xfrm>
                <a:off x="282575" y="8686800"/>
                <a:ext cx="123825" cy="76200"/>
              </a:xfrm>
              <a:custGeom>
                <a:avLst/>
                <a:gdLst>
                  <a:gd name="T0" fmla="*/ 5 w 86"/>
                  <a:gd name="T1" fmla="*/ 52 h 52"/>
                  <a:gd name="T2" fmla="*/ 2 w 86"/>
                  <a:gd name="T3" fmla="*/ 51 h 52"/>
                  <a:gd name="T4" fmla="*/ 2 w 86"/>
                  <a:gd name="T5" fmla="*/ 47 h 52"/>
                  <a:gd name="T6" fmla="*/ 79 w 86"/>
                  <a:gd name="T7" fmla="*/ 1 h 52"/>
                  <a:gd name="T8" fmla="*/ 85 w 86"/>
                  <a:gd name="T9" fmla="*/ 2 h 52"/>
                  <a:gd name="T10" fmla="*/ 84 w 86"/>
                  <a:gd name="T11" fmla="*/ 6 h 52"/>
                  <a:gd name="T12" fmla="*/ 7 w 86"/>
                  <a:gd name="T13" fmla="*/ 52 h 52"/>
                  <a:gd name="T14" fmla="*/ 5 w 86"/>
                  <a:gd name="T15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6" h="52">
                    <a:moveTo>
                      <a:pt x="5" y="52"/>
                    </a:moveTo>
                    <a:cubicBezTo>
                      <a:pt x="4" y="52"/>
                      <a:pt x="3" y="52"/>
                      <a:pt x="2" y="51"/>
                    </a:cubicBezTo>
                    <a:cubicBezTo>
                      <a:pt x="0" y="50"/>
                      <a:pt x="1" y="48"/>
                      <a:pt x="2" y="47"/>
                    </a:cubicBezTo>
                    <a:cubicBezTo>
                      <a:pt x="79" y="1"/>
                      <a:pt x="79" y="1"/>
                      <a:pt x="79" y="1"/>
                    </a:cubicBezTo>
                    <a:cubicBezTo>
                      <a:pt x="81" y="0"/>
                      <a:pt x="83" y="1"/>
                      <a:pt x="85" y="2"/>
                    </a:cubicBezTo>
                    <a:cubicBezTo>
                      <a:pt x="86" y="3"/>
                      <a:pt x="86" y="5"/>
                      <a:pt x="84" y="6"/>
                    </a:cubicBezTo>
                    <a:cubicBezTo>
                      <a:pt x="7" y="52"/>
                      <a:pt x="7" y="52"/>
                      <a:pt x="7" y="52"/>
                    </a:cubicBezTo>
                    <a:cubicBezTo>
                      <a:pt x="7" y="52"/>
                      <a:pt x="6" y="52"/>
                      <a:pt x="5" y="52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59" name="Freeform 66"/>
              <p:cNvSpPr>
                <a:spLocks/>
              </p:cNvSpPr>
              <p:nvPr/>
            </p:nvSpPr>
            <p:spPr bwMode="auto">
              <a:xfrm>
                <a:off x="284163" y="8610600"/>
                <a:ext cx="122238" cy="87313"/>
              </a:xfrm>
              <a:custGeom>
                <a:avLst/>
                <a:gdLst>
                  <a:gd name="T0" fmla="*/ 80 w 85"/>
                  <a:gd name="T1" fmla="*/ 60 h 60"/>
                  <a:gd name="T2" fmla="*/ 78 w 85"/>
                  <a:gd name="T3" fmla="*/ 59 h 60"/>
                  <a:gd name="T4" fmla="*/ 1 w 85"/>
                  <a:gd name="T5" fmla="*/ 6 h 60"/>
                  <a:gd name="T6" fmla="*/ 1 w 85"/>
                  <a:gd name="T7" fmla="*/ 2 h 60"/>
                  <a:gd name="T8" fmla="*/ 7 w 85"/>
                  <a:gd name="T9" fmla="*/ 1 h 60"/>
                  <a:gd name="T10" fmla="*/ 83 w 85"/>
                  <a:gd name="T11" fmla="*/ 55 h 60"/>
                  <a:gd name="T12" fmla="*/ 83 w 85"/>
                  <a:gd name="T13" fmla="*/ 59 h 60"/>
                  <a:gd name="T14" fmla="*/ 80 w 85"/>
                  <a:gd name="T15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5" h="60">
                    <a:moveTo>
                      <a:pt x="80" y="60"/>
                    </a:moveTo>
                    <a:cubicBezTo>
                      <a:pt x="79" y="60"/>
                      <a:pt x="78" y="59"/>
                      <a:pt x="78" y="59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5"/>
                      <a:pt x="0" y="3"/>
                      <a:pt x="1" y="2"/>
                    </a:cubicBezTo>
                    <a:cubicBezTo>
                      <a:pt x="3" y="0"/>
                      <a:pt x="5" y="0"/>
                      <a:pt x="7" y="1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5" y="56"/>
                      <a:pt x="85" y="58"/>
                      <a:pt x="83" y="59"/>
                    </a:cubicBezTo>
                    <a:cubicBezTo>
                      <a:pt x="83" y="59"/>
                      <a:pt x="81" y="60"/>
                      <a:pt x="80" y="6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60" name="Freeform 67"/>
              <p:cNvSpPr>
                <a:spLocks/>
              </p:cNvSpPr>
              <p:nvPr/>
            </p:nvSpPr>
            <p:spPr bwMode="auto">
              <a:xfrm>
                <a:off x="287338" y="8548688"/>
                <a:ext cx="114300" cy="73025"/>
              </a:xfrm>
              <a:custGeom>
                <a:avLst/>
                <a:gdLst>
                  <a:gd name="T0" fmla="*/ 5 w 80"/>
                  <a:gd name="T1" fmla="*/ 51 h 51"/>
                  <a:gd name="T2" fmla="*/ 2 w 80"/>
                  <a:gd name="T3" fmla="*/ 50 h 51"/>
                  <a:gd name="T4" fmla="*/ 2 w 80"/>
                  <a:gd name="T5" fmla="*/ 45 h 51"/>
                  <a:gd name="T6" fmla="*/ 73 w 80"/>
                  <a:gd name="T7" fmla="*/ 1 h 51"/>
                  <a:gd name="T8" fmla="*/ 79 w 80"/>
                  <a:gd name="T9" fmla="*/ 2 h 51"/>
                  <a:gd name="T10" fmla="*/ 78 w 80"/>
                  <a:gd name="T11" fmla="*/ 6 h 51"/>
                  <a:gd name="T12" fmla="*/ 8 w 80"/>
                  <a:gd name="T13" fmla="*/ 50 h 51"/>
                  <a:gd name="T14" fmla="*/ 5 w 80"/>
                  <a:gd name="T15" fmla="*/ 5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0" h="51">
                    <a:moveTo>
                      <a:pt x="5" y="51"/>
                    </a:moveTo>
                    <a:cubicBezTo>
                      <a:pt x="4" y="51"/>
                      <a:pt x="3" y="50"/>
                      <a:pt x="2" y="50"/>
                    </a:cubicBezTo>
                    <a:cubicBezTo>
                      <a:pt x="0" y="48"/>
                      <a:pt x="1" y="46"/>
                      <a:pt x="2" y="45"/>
                    </a:cubicBezTo>
                    <a:cubicBezTo>
                      <a:pt x="73" y="1"/>
                      <a:pt x="73" y="1"/>
                      <a:pt x="73" y="1"/>
                    </a:cubicBezTo>
                    <a:cubicBezTo>
                      <a:pt x="75" y="0"/>
                      <a:pt x="77" y="0"/>
                      <a:pt x="79" y="2"/>
                    </a:cubicBezTo>
                    <a:cubicBezTo>
                      <a:pt x="80" y="3"/>
                      <a:pt x="80" y="5"/>
                      <a:pt x="78" y="6"/>
                    </a:cubicBezTo>
                    <a:cubicBezTo>
                      <a:pt x="8" y="50"/>
                      <a:pt x="8" y="50"/>
                      <a:pt x="8" y="50"/>
                    </a:cubicBezTo>
                    <a:cubicBezTo>
                      <a:pt x="7" y="50"/>
                      <a:pt x="6" y="51"/>
                      <a:pt x="5" y="5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61" name="Freeform 68"/>
              <p:cNvSpPr>
                <a:spLocks/>
              </p:cNvSpPr>
              <p:nvPr/>
            </p:nvSpPr>
            <p:spPr bwMode="auto">
              <a:xfrm>
                <a:off x="290513" y="8466138"/>
                <a:ext cx="111125" cy="92075"/>
              </a:xfrm>
              <a:custGeom>
                <a:avLst/>
                <a:gdLst>
                  <a:gd name="T0" fmla="*/ 73 w 78"/>
                  <a:gd name="T1" fmla="*/ 64 h 64"/>
                  <a:gd name="T2" fmla="*/ 70 w 78"/>
                  <a:gd name="T3" fmla="*/ 63 h 64"/>
                  <a:gd name="T4" fmla="*/ 1 w 78"/>
                  <a:gd name="T5" fmla="*/ 5 h 64"/>
                  <a:gd name="T6" fmla="*/ 2 w 78"/>
                  <a:gd name="T7" fmla="*/ 1 h 64"/>
                  <a:gd name="T8" fmla="*/ 8 w 78"/>
                  <a:gd name="T9" fmla="*/ 1 h 64"/>
                  <a:gd name="T10" fmla="*/ 76 w 78"/>
                  <a:gd name="T11" fmla="*/ 59 h 64"/>
                  <a:gd name="T12" fmla="*/ 76 w 78"/>
                  <a:gd name="T13" fmla="*/ 63 h 64"/>
                  <a:gd name="T14" fmla="*/ 73 w 78"/>
                  <a:gd name="T1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8" h="64">
                    <a:moveTo>
                      <a:pt x="73" y="64"/>
                    </a:moveTo>
                    <a:cubicBezTo>
                      <a:pt x="72" y="64"/>
                      <a:pt x="71" y="63"/>
                      <a:pt x="70" y="63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4"/>
                      <a:pt x="0" y="2"/>
                      <a:pt x="2" y="1"/>
                    </a:cubicBezTo>
                    <a:cubicBezTo>
                      <a:pt x="3" y="0"/>
                      <a:pt x="6" y="0"/>
                      <a:pt x="8" y="1"/>
                    </a:cubicBezTo>
                    <a:cubicBezTo>
                      <a:pt x="76" y="59"/>
                      <a:pt x="76" y="59"/>
                      <a:pt x="76" y="59"/>
                    </a:cubicBezTo>
                    <a:cubicBezTo>
                      <a:pt x="78" y="60"/>
                      <a:pt x="78" y="62"/>
                      <a:pt x="76" y="63"/>
                    </a:cubicBezTo>
                    <a:cubicBezTo>
                      <a:pt x="75" y="63"/>
                      <a:pt x="74" y="64"/>
                      <a:pt x="73" y="64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62" name="Freeform 69"/>
              <p:cNvSpPr>
                <a:spLocks/>
              </p:cNvSpPr>
              <p:nvPr/>
            </p:nvSpPr>
            <p:spPr bwMode="auto">
              <a:xfrm>
                <a:off x="288925" y="8407400"/>
                <a:ext cx="106363" cy="66675"/>
              </a:xfrm>
              <a:custGeom>
                <a:avLst/>
                <a:gdLst>
                  <a:gd name="T0" fmla="*/ 5 w 74"/>
                  <a:gd name="T1" fmla="*/ 47 h 47"/>
                  <a:gd name="T2" fmla="*/ 2 w 74"/>
                  <a:gd name="T3" fmla="*/ 46 h 47"/>
                  <a:gd name="T4" fmla="*/ 2 w 74"/>
                  <a:gd name="T5" fmla="*/ 42 h 47"/>
                  <a:gd name="T6" fmla="*/ 67 w 74"/>
                  <a:gd name="T7" fmla="*/ 1 h 47"/>
                  <a:gd name="T8" fmla="*/ 73 w 74"/>
                  <a:gd name="T9" fmla="*/ 1 h 47"/>
                  <a:gd name="T10" fmla="*/ 72 w 74"/>
                  <a:gd name="T11" fmla="*/ 5 h 47"/>
                  <a:gd name="T12" fmla="*/ 8 w 74"/>
                  <a:gd name="T13" fmla="*/ 46 h 47"/>
                  <a:gd name="T14" fmla="*/ 5 w 74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4" h="47">
                    <a:moveTo>
                      <a:pt x="5" y="47"/>
                    </a:moveTo>
                    <a:cubicBezTo>
                      <a:pt x="4" y="47"/>
                      <a:pt x="3" y="47"/>
                      <a:pt x="2" y="46"/>
                    </a:cubicBezTo>
                    <a:cubicBezTo>
                      <a:pt x="0" y="45"/>
                      <a:pt x="1" y="43"/>
                      <a:pt x="2" y="42"/>
                    </a:cubicBezTo>
                    <a:cubicBezTo>
                      <a:pt x="67" y="1"/>
                      <a:pt x="67" y="1"/>
                      <a:pt x="67" y="1"/>
                    </a:cubicBezTo>
                    <a:cubicBezTo>
                      <a:pt x="69" y="0"/>
                      <a:pt x="71" y="0"/>
                      <a:pt x="73" y="1"/>
                    </a:cubicBezTo>
                    <a:cubicBezTo>
                      <a:pt x="74" y="2"/>
                      <a:pt x="74" y="4"/>
                      <a:pt x="72" y="5"/>
                    </a:cubicBezTo>
                    <a:cubicBezTo>
                      <a:pt x="8" y="46"/>
                      <a:pt x="8" y="46"/>
                      <a:pt x="8" y="46"/>
                    </a:cubicBezTo>
                    <a:cubicBezTo>
                      <a:pt x="7" y="47"/>
                      <a:pt x="6" y="47"/>
                      <a:pt x="5" y="47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63" name="Freeform 70"/>
              <p:cNvSpPr>
                <a:spLocks/>
              </p:cNvSpPr>
              <p:nvPr/>
            </p:nvSpPr>
            <p:spPr bwMode="auto">
              <a:xfrm>
                <a:off x="295275" y="8331200"/>
                <a:ext cx="100013" cy="84138"/>
              </a:xfrm>
              <a:custGeom>
                <a:avLst/>
                <a:gdLst>
                  <a:gd name="T0" fmla="*/ 66 w 70"/>
                  <a:gd name="T1" fmla="*/ 59 h 59"/>
                  <a:gd name="T2" fmla="*/ 63 w 70"/>
                  <a:gd name="T3" fmla="*/ 58 h 59"/>
                  <a:gd name="T4" fmla="*/ 2 w 70"/>
                  <a:gd name="T5" fmla="*/ 5 h 59"/>
                  <a:gd name="T6" fmla="*/ 2 w 70"/>
                  <a:gd name="T7" fmla="*/ 1 h 59"/>
                  <a:gd name="T8" fmla="*/ 8 w 70"/>
                  <a:gd name="T9" fmla="*/ 1 h 59"/>
                  <a:gd name="T10" fmla="*/ 69 w 70"/>
                  <a:gd name="T11" fmla="*/ 54 h 59"/>
                  <a:gd name="T12" fmla="*/ 68 w 70"/>
                  <a:gd name="T13" fmla="*/ 58 h 59"/>
                  <a:gd name="T14" fmla="*/ 66 w 70"/>
                  <a:gd name="T15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0" h="59">
                    <a:moveTo>
                      <a:pt x="66" y="59"/>
                    </a:moveTo>
                    <a:cubicBezTo>
                      <a:pt x="65" y="59"/>
                      <a:pt x="63" y="59"/>
                      <a:pt x="63" y="58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0" y="4"/>
                      <a:pt x="0" y="2"/>
                      <a:pt x="2" y="1"/>
                    </a:cubicBezTo>
                    <a:cubicBezTo>
                      <a:pt x="4" y="0"/>
                      <a:pt x="6" y="0"/>
                      <a:pt x="8" y="1"/>
                    </a:cubicBezTo>
                    <a:cubicBezTo>
                      <a:pt x="69" y="54"/>
                      <a:pt x="69" y="54"/>
                      <a:pt x="69" y="54"/>
                    </a:cubicBezTo>
                    <a:cubicBezTo>
                      <a:pt x="70" y="55"/>
                      <a:pt x="70" y="57"/>
                      <a:pt x="68" y="58"/>
                    </a:cubicBezTo>
                    <a:cubicBezTo>
                      <a:pt x="68" y="59"/>
                      <a:pt x="67" y="59"/>
                      <a:pt x="66" y="59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64" name="Freeform 71"/>
              <p:cNvSpPr>
                <a:spLocks/>
              </p:cNvSpPr>
              <p:nvPr/>
            </p:nvSpPr>
            <p:spPr bwMode="auto">
              <a:xfrm>
                <a:off x="295275" y="8270875"/>
                <a:ext cx="98425" cy="68263"/>
              </a:xfrm>
              <a:custGeom>
                <a:avLst/>
                <a:gdLst>
                  <a:gd name="T0" fmla="*/ 5 w 69"/>
                  <a:gd name="T1" fmla="*/ 47 h 47"/>
                  <a:gd name="T2" fmla="*/ 2 w 69"/>
                  <a:gd name="T3" fmla="*/ 46 h 47"/>
                  <a:gd name="T4" fmla="*/ 2 w 69"/>
                  <a:gd name="T5" fmla="*/ 42 h 47"/>
                  <a:gd name="T6" fmla="*/ 62 w 69"/>
                  <a:gd name="T7" fmla="*/ 1 h 47"/>
                  <a:gd name="T8" fmla="*/ 68 w 69"/>
                  <a:gd name="T9" fmla="*/ 1 h 47"/>
                  <a:gd name="T10" fmla="*/ 67 w 69"/>
                  <a:gd name="T11" fmla="*/ 5 h 47"/>
                  <a:gd name="T12" fmla="*/ 8 w 69"/>
                  <a:gd name="T13" fmla="*/ 46 h 47"/>
                  <a:gd name="T14" fmla="*/ 5 w 69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9" h="47">
                    <a:moveTo>
                      <a:pt x="5" y="47"/>
                    </a:moveTo>
                    <a:cubicBezTo>
                      <a:pt x="4" y="47"/>
                      <a:pt x="3" y="47"/>
                      <a:pt x="2" y="46"/>
                    </a:cubicBezTo>
                    <a:cubicBezTo>
                      <a:pt x="0" y="45"/>
                      <a:pt x="0" y="43"/>
                      <a:pt x="2" y="42"/>
                    </a:cubicBezTo>
                    <a:cubicBezTo>
                      <a:pt x="62" y="1"/>
                      <a:pt x="62" y="1"/>
                      <a:pt x="62" y="1"/>
                    </a:cubicBezTo>
                    <a:cubicBezTo>
                      <a:pt x="64" y="0"/>
                      <a:pt x="66" y="0"/>
                      <a:pt x="68" y="1"/>
                    </a:cubicBezTo>
                    <a:cubicBezTo>
                      <a:pt x="69" y="2"/>
                      <a:pt x="69" y="4"/>
                      <a:pt x="67" y="5"/>
                    </a:cubicBezTo>
                    <a:cubicBezTo>
                      <a:pt x="8" y="46"/>
                      <a:pt x="8" y="46"/>
                      <a:pt x="8" y="46"/>
                    </a:cubicBezTo>
                    <a:cubicBezTo>
                      <a:pt x="7" y="47"/>
                      <a:pt x="6" y="47"/>
                      <a:pt x="5" y="47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65" name="Freeform 72"/>
              <p:cNvSpPr>
                <a:spLocks/>
              </p:cNvSpPr>
              <p:nvPr/>
            </p:nvSpPr>
            <p:spPr bwMode="auto">
              <a:xfrm>
                <a:off x="295275" y="8210550"/>
                <a:ext cx="98425" cy="69850"/>
              </a:xfrm>
              <a:custGeom>
                <a:avLst/>
                <a:gdLst>
                  <a:gd name="T0" fmla="*/ 65 w 69"/>
                  <a:gd name="T1" fmla="*/ 48 h 48"/>
                  <a:gd name="T2" fmla="*/ 62 w 69"/>
                  <a:gd name="T3" fmla="*/ 47 h 48"/>
                  <a:gd name="T4" fmla="*/ 2 w 69"/>
                  <a:gd name="T5" fmla="*/ 6 h 48"/>
                  <a:gd name="T6" fmla="*/ 2 w 69"/>
                  <a:gd name="T7" fmla="*/ 1 h 48"/>
                  <a:gd name="T8" fmla="*/ 8 w 69"/>
                  <a:gd name="T9" fmla="*/ 1 h 48"/>
                  <a:gd name="T10" fmla="*/ 68 w 69"/>
                  <a:gd name="T11" fmla="*/ 43 h 48"/>
                  <a:gd name="T12" fmla="*/ 68 w 69"/>
                  <a:gd name="T13" fmla="*/ 47 h 48"/>
                  <a:gd name="T14" fmla="*/ 65 w 69"/>
                  <a:gd name="T15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9" h="48">
                    <a:moveTo>
                      <a:pt x="65" y="48"/>
                    </a:moveTo>
                    <a:cubicBezTo>
                      <a:pt x="64" y="48"/>
                      <a:pt x="63" y="48"/>
                      <a:pt x="62" y="47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0" y="4"/>
                      <a:pt x="0" y="3"/>
                      <a:pt x="2" y="1"/>
                    </a:cubicBezTo>
                    <a:cubicBezTo>
                      <a:pt x="3" y="0"/>
                      <a:pt x="6" y="0"/>
                      <a:pt x="8" y="1"/>
                    </a:cubicBezTo>
                    <a:cubicBezTo>
                      <a:pt x="68" y="43"/>
                      <a:pt x="68" y="43"/>
                      <a:pt x="68" y="43"/>
                    </a:cubicBezTo>
                    <a:cubicBezTo>
                      <a:pt x="69" y="44"/>
                      <a:pt x="69" y="46"/>
                      <a:pt x="68" y="47"/>
                    </a:cubicBezTo>
                    <a:cubicBezTo>
                      <a:pt x="67" y="48"/>
                      <a:pt x="66" y="48"/>
                      <a:pt x="65" y="48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66" name="Freeform 73"/>
              <p:cNvSpPr>
                <a:spLocks/>
              </p:cNvSpPr>
              <p:nvPr/>
            </p:nvSpPr>
            <p:spPr bwMode="auto">
              <a:xfrm>
                <a:off x="295275" y="8159750"/>
                <a:ext cx="95250" cy="60325"/>
              </a:xfrm>
              <a:custGeom>
                <a:avLst/>
                <a:gdLst>
                  <a:gd name="T0" fmla="*/ 5 w 67"/>
                  <a:gd name="T1" fmla="*/ 42 h 42"/>
                  <a:gd name="T2" fmla="*/ 2 w 67"/>
                  <a:gd name="T3" fmla="*/ 41 h 42"/>
                  <a:gd name="T4" fmla="*/ 2 w 67"/>
                  <a:gd name="T5" fmla="*/ 37 h 42"/>
                  <a:gd name="T6" fmla="*/ 60 w 67"/>
                  <a:gd name="T7" fmla="*/ 2 h 42"/>
                  <a:gd name="T8" fmla="*/ 66 w 67"/>
                  <a:gd name="T9" fmla="*/ 2 h 42"/>
                  <a:gd name="T10" fmla="*/ 65 w 67"/>
                  <a:gd name="T11" fmla="*/ 6 h 42"/>
                  <a:gd name="T12" fmla="*/ 7 w 67"/>
                  <a:gd name="T13" fmla="*/ 42 h 42"/>
                  <a:gd name="T14" fmla="*/ 5 w 67"/>
                  <a:gd name="T15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7" h="42">
                    <a:moveTo>
                      <a:pt x="5" y="42"/>
                    </a:moveTo>
                    <a:cubicBezTo>
                      <a:pt x="4" y="42"/>
                      <a:pt x="2" y="42"/>
                      <a:pt x="2" y="41"/>
                    </a:cubicBezTo>
                    <a:cubicBezTo>
                      <a:pt x="0" y="40"/>
                      <a:pt x="0" y="38"/>
                      <a:pt x="2" y="37"/>
                    </a:cubicBezTo>
                    <a:cubicBezTo>
                      <a:pt x="60" y="2"/>
                      <a:pt x="60" y="2"/>
                      <a:pt x="60" y="2"/>
                    </a:cubicBezTo>
                    <a:cubicBezTo>
                      <a:pt x="62" y="0"/>
                      <a:pt x="64" y="1"/>
                      <a:pt x="66" y="2"/>
                    </a:cubicBezTo>
                    <a:cubicBezTo>
                      <a:pt x="67" y="3"/>
                      <a:pt x="67" y="5"/>
                      <a:pt x="65" y="6"/>
                    </a:cubicBezTo>
                    <a:cubicBezTo>
                      <a:pt x="7" y="42"/>
                      <a:pt x="7" y="42"/>
                      <a:pt x="7" y="42"/>
                    </a:cubicBezTo>
                    <a:cubicBezTo>
                      <a:pt x="7" y="42"/>
                      <a:pt x="6" y="42"/>
                      <a:pt x="5" y="42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67" name="Freeform 74"/>
              <p:cNvSpPr>
                <a:spLocks/>
              </p:cNvSpPr>
              <p:nvPr/>
            </p:nvSpPr>
            <p:spPr bwMode="auto">
              <a:xfrm>
                <a:off x="296863" y="8086725"/>
                <a:ext cx="93663" cy="82550"/>
              </a:xfrm>
              <a:custGeom>
                <a:avLst/>
                <a:gdLst>
                  <a:gd name="T0" fmla="*/ 60 w 65"/>
                  <a:gd name="T1" fmla="*/ 57 h 57"/>
                  <a:gd name="T2" fmla="*/ 57 w 65"/>
                  <a:gd name="T3" fmla="*/ 56 h 57"/>
                  <a:gd name="T4" fmla="*/ 2 w 65"/>
                  <a:gd name="T5" fmla="*/ 6 h 57"/>
                  <a:gd name="T6" fmla="*/ 2 w 65"/>
                  <a:gd name="T7" fmla="*/ 1 h 57"/>
                  <a:gd name="T8" fmla="*/ 8 w 65"/>
                  <a:gd name="T9" fmla="*/ 2 h 57"/>
                  <a:gd name="T10" fmla="*/ 64 w 65"/>
                  <a:gd name="T11" fmla="*/ 52 h 57"/>
                  <a:gd name="T12" fmla="*/ 63 w 65"/>
                  <a:gd name="T13" fmla="*/ 56 h 57"/>
                  <a:gd name="T14" fmla="*/ 60 w 65"/>
                  <a:gd name="T15" fmla="*/ 57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5" h="57">
                    <a:moveTo>
                      <a:pt x="60" y="57"/>
                    </a:moveTo>
                    <a:cubicBezTo>
                      <a:pt x="59" y="57"/>
                      <a:pt x="58" y="56"/>
                      <a:pt x="57" y="5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0" y="4"/>
                      <a:pt x="1" y="2"/>
                      <a:pt x="2" y="1"/>
                    </a:cubicBezTo>
                    <a:cubicBezTo>
                      <a:pt x="4" y="0"/>
                      <a:pt x="7" y="1"/>
                      <a:pt x="8" y="2"/>
                    </a:cubicBezTo>
                    <a:cubicBezTo>
                      <a:pt x="64" y="52"/>
                      <a:pt x="64" y="52"/>
                      <a:pt x="64" y="52"/>
                    </a:cubicBezTo>
                    <a:cubicBezTo>
                      <a:pt x="65" y="53"/>
                      <a:pt x="65" y="55"/>
                      <a:pt x="63" y="56"/>
                    </a:cubicBezTo>
                    <a:cubicBezTo>
                      <a:pt x="62" y="57"/>
                      <a:pt x="61" y="57"/>
                      <a:pt x="60" y="57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68" name="Freeform 75"/>
              <p:cNvSpPr>
                <a:spLocks/>
              </p:cNvSpPr>
              <p:nvPr/>
            </p:nvSpPr>
            <p:spPr bwMode="auto">
              <a:xfrm>
                <a:off x="298450" y="8035925"/>
                <a:ext cx="90488" cy="61913"/>
              </a:xfrm>
              <a:custGeom>
                <a:avLst/>
                <a:gdLst>
                  <a:gd name="T0" fmla="*/ 4 w 63"/>
                  <a:gd name="T1" fmla="*/ 43 h 43"/>
                  <a:gd name="T2" fmla="*/ 1 w 63"/>
                  <a:gd name="T3" fmla="*/ 42 h 43"/>
                  <a:gd name="T4" fmla="*/ 1 w 63"/>
                  <a:gd name="T5" fmla="*/ 38 h 43"/>
                  <a:gd name="T6" fmla="*/ 56 w 63"/>
                  <a:gd name="T7" fmla="*/ 1 h 43"/>
                  <a:gd name="T8" fmla="*/ 62 w 63"/>
                  <a:gd name="T9" fmla="*/ 1 h 43"/>
                  <a:gd name="T10" fmla="*/ 61 w 63"/>
                  <a:gd name="T11" fmla="*/ 6 h 43"/>
                  <a:gd name="T12" fmla="*/ 7 w 63"/>
                  <a:gd name="T13" fmla="*/ 42 h 43"/>
                  <a:gd name="T14" fmla="*/ 4 w 63"/>
                  <a:gd name="T1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3" h="43">
                    <a:moveTo>
                      <a:pt x="4" y="43"/>
                    </a:moveTo>
                    <a:cubicBezTo>
                      <a:pt x="3" y="43"/>
                      <a:pt x="2" y="42"/>
                      <a:pt x="1" y="42"/>
                    </a:cubicBezTo>
                    <a:cubicBezTo>
                      <a:pt x="0" y="41"/>
                      <a:pt x="0" y="39"/>
                      <a:pt x="1" y="38"/>
                    </a:cubicBezTo>
                    <a:cubicBezTo>
                      <a:pt x="56" y="1"/>
                      <a:pt x="56" y="1"/>
                      <a:pt x="56" y="1"/>
                    </a:cubicBezTo>
                    <a:cubicBezTo>
                      <a:pt x="57" y="0"/>
                      <a:pt x="60" y="0"/>
                      <a:pt x="62" y="1"/>
                    </a:cubicBezTo>
                    <a:cubicBezTo>
                      <a:pt x="63" y="3"/>
                      <a:pt x="63" y="4"/>
                      <a:pt x="61" y="6"/>
                    </a:cubicBezTo>
                    <a:cubicBezTo>
                      <a:pt x="7" y="42"/>
                      <a:pt x="7" y="42"/>
                      <a:pt x="7" y="42"/>
                    </a:cubicBezTo>
                    <a:cubicBezTo>
                      <a:pt x="6" y="42"/>
                      <a:pt x="5" y="43"/>
                      <a:pt x="4" y="43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69" name="Freeform 76"/>
              <p:cNvSpPr>
                <a:spLocks/>
              </p:cNvSpPr>
              <p:nvPr/>
            </p:nvSpPr>
            <p:spPr bwMode="auto">
              <a:xfrm>
                <a:off x="295275" y="7956550"/>
                <a:ext cx="93663" cy="87313"/>
              </a:xfrm>
              <a:custGeom>
                <a:avLst/>
                <a:gdLst>
                  <a:gd name="T0" fmla="*/ 61 w 66"/>
                  <a:gd name="T1" fmla="*/ 61 h 61"/>
                  <a:gd name="T2" fmla="*/ 58 w 66"/>
                  <a:gd name="T3" fmla="*/ 60 h 61"/>
                  <a:gd name="T4" fmla="*/ 2 w 66"/>
                  <a:gd name="T5" fmla="*/ 6 h 61"/>
                  <a:gd name="T6" fmla="*/ 2 w 66"/>
                  <a:gd name="T7" fmla="*/ 1 h 61"/>
                  <a:gd name="T8" fmla="*/ 8 w 66"/>
                  <a:gd name="T9" fmla="*/ 2 h 61"/>
                  <a:gd name="T10" fmla="*/ 65 w 66"/>
                  <a:gd name="T11" fmla="*/ 57 h 61"/>
                  <a:gd name="T12" fmla="*/ 64 w 66"/>
                  <a:gd name="T13" fmla="*/ 61 h 61"/>
                  <a:gd name="T14" fmla="*/ 61 w 66"/>
                  <a:gd name="T15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6" h="61">
                    <a:moveTo>
                      <a:pt x="61" y="61"/>
                    </a:moveTo>
                    <a:cubicBezTo>
                      <a:pt x="60" y="61"/>
                      <a:pt x="59" y="61"/>
                      <a:pt x="58" y="60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0" y="4"/>
                      <a:pt x="1" y="2"/>
                      <a:pt x="2" y="1"/>
                    </a:cubicBezTo>
                    <a:cubicBezTo>
                      <a:pt x="4" y="0"/>
                      <a:pt x="7" y="1"/>
                      <a:pt x="8" y="2"/>
                    </a:cubicBezTo>
                    <a:cubicBezTo>
                      <a:pt x="65" y="57"/>
                      <a:pt x="65" y="57"/>
                      <a:pt x="65" y="57"/>
                    </a:cubicBezTo>
                    <a:cubicBezTo>
                      <a:pt x="66" y="58"/>
                      <a:pt x="66" y="60"/>
                      <a:pt x="64" y="61"/>
                    </a:cubicBezTo>
                    <a:cubicBezTo>
                      <a:pt x="63" y="61"/>
                      <a:pt x="62" y="61"/>
                      <a:pt x="61" y="6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70" name="Freeform 77"/>
              <p:cNvSpPr>
                <a:spLocks/>
              </p:cNvSpPr>
              <p:nvPr/>
            </p:nvSpPr>
            <p:spPr bwMode="auto">
              <a:xfrm>
                <a:off x="295275" y="7899400"/>
                <a:ext cx="87313" cy="66675"/>
              </a:xfrm>
              <a:custGeom>
                <a:avLst/>
                <a:gdLst>
                  <a:gd name="T0" fmla="*/ 5 w 61"/>
                  <a:gd name="T1" fmla="*/ 47 h 47"/>
                  <a:gd name="T2" fmla="*/ 2 w 61"/>
                  <a:gd name="T3" fmla="*/ 46 h 47"/>
                  <a:gd name="T4" fmla="*/ 2 w 61"/>
                  <a:gd name="T5" fmla="*/ 42 h 47"/>
                  <a:gd name="T6" fmla="*/ 54 w 61"/>
                  <a:gd name="T7" fmla="*/ 1 h 47"/>
                  <a:gd name="T8" fmla="*/ 59 w 61"/>
                  <a:gd name="T9" fmla="*/ 1 h 47"/>
                  <a:gd name="T10" fmla="*/ 60 w 61"/>
                  <a:gd name="T11" fmla="*/ 5 h 47"/>
                  <a:gd name="T12" fmla="*/ 8 w 61"/>
                  <a:gd name="T13" fmla="*/ 46 h 47"/>
                  <a:gd name="T14" fmla="*/ 5 w 61"/>
                  <a:gd name="T15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1" h="47">
                    <a:moveTo>
                      <a:pt x="5" y="47"/>
                    </a:moveTo>
                    <a:cubicBezTo>
                      <a:pt x="4" y="47"/>
                      <a:pt x="3" y="47"/>
                      <a:pt x="2" y="46"/>
                    </a:cubicBezTo>
                    <a:cubicBezTo>
                      <a:pt x="0" y="45"/>
                      <a:pt x="0" y="43"/>
                      <a:pt x="2" y="42"/>
                    </a:cubicBezTo>
                    <a:cubicBezTo>
                      <a:pt x="54" y="1"/>
                      <a:pt x="54" y="1"/>
                      <a:pt x="54" y="1"/>
                    </a:cubicBezTo>
                    <a:cubicBezTo>
                      <a:pt x="55" y="0"/>
                      <a:pt x="58" y="0"/>
                      <a:pt x="59" y="1"/>
                    </a:cubicBezTo>
                    <a:cubicBezTo>
                      <a:pt x="61" y="2"/>
                      <a:pt x="61" y="4"/>
                      <a:pt x="60" y="5"/>
                    </a:cubicBezTo>
                    <a:cubicBezTo>
                      <a:pt x="8" y="46"/>
                      <a:pt x="8" y="46"/>
                      <a:pt x="8" y="46"/>
                    </a:cubicBezTo>
                    <a:cubicBezTo>
                      <a:pt x="7" y="46"/>
                      <a:pt x="6" y="47"/>
                      <a:pt x="5" y="47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71" name="Freeform 78"/>
              <p:cNvSpPr>
                <a:spLocks/>
              </p:cNvSpPr>
              <p:nvPr/>
            </p:nvSpPr>
            <p:spPr bwMode="auto">
              <a:xfrm>
                <a:off x="304800" y="7848600"/>
                <a:ext cx="77788" cy="58738"/>
              </a:xfrm>
              <a:custGeom>
                <a:avLst/>
                <a:gdLst>
                  <a:gd name="T0" fmla="*/ 50 w 54"/>
                  <a:gd name="T1" fmla="*/ 41 h 41"/>
                  <a:gd name="T2" fmla="*/ 47 w 54"/>
                  <a:gd name="T3" fmla="*/ 40 h 41"/>
                  <a:gd name="T4" fmla="*/ 2 w 54"/>
                  <a:gd name="T5" fmla="*/ 6 h 41"/>
                  <a:gd name="T6" fmla="*/ 2 w 54"/>
                  <a:gd name="T7" fmla="*/ 2 h 41"/>
                  <a:gd name="T8" fmla="*/ 8 w 54"/>
                  <a:gd name="T9" fmla="*/ 2 h 41"/>
                  <a:gd name="T10" fmla="*/ 53 w 54"/>
                  <a:gd name="T11" fmla="*/ 36 h 41"/>
                  <a:gd name="T12" fmla="*/ 52 w 54"/>
                  <a:gd name="T13" fmla="*/ 40 h 41"/>
                  <a:gd name="T14" fmla="*/ 50 w 54"/>
                  <a:gd name="T15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4" h="41">
                    <a:moveTo>
                      <a:pt x="50" y="41"/>
                    </a:moveTo>
                    <a:cubicBezTo>
                      <a:pt x="49" y="41"/>
                      <a:pt x="48" y="41"/>
                      <a:pt x="47" y="40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0" y="5"/>
                      <a:pt x="1" y="3"/>
                      <a:pt x="2" y="2"/>
                    </a:cubicBezTo>
                    <a:cubicBezTo>
                      <a:pt x="4" y="0"/>
                      <a:pt x="6" y="0"/>
                      <a:pt x="8" y="2"/>
                    </a:cubicBezTo>
                    <a:cubicBezTo>
                      <a:pt x="53" y="36"/>
                      <a:pt x="53" y="36"/>
                      <a:pt x="53" y="36"/>
                    </a:cubicBezTo>
                    <a:cubicBezTo>
                      <a:pt x="54" y="37"/>
                      <a:pt x="54" y="39"/>
                      <a:pt x="52" y="40"/>
                    </a:cubicBezTo>
                    <a:cubicBezTo>
                      <a:pt x="52" y="41"/>
                      <a:pt x="51" y="41"/>
                      <a:pt x="50" y="4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72" name="Freeform 79"/>
              <p:cNvSpPr>
                <a:spLocks/>
              </p:cNvSpPr>
              <p:nvPr/>
            </p:nvSpPr>
            <p:spPr bwMode="auto">
              <a:xfrm>
                <a:off x="306388" y="7785100"/>
                <a:ext cx="76200" cy="73025"/>
              </a:xfrm>
              <a:custGeom>
                <a:avLst/>
                <a:gdLst>
                  <a:gd name="T0" fmla="*/ 4 w 53"/>
                  <a:gd name="T1" fmla="*/ 51 h 51"/>
                  <a:gd name="T2" fmla="*/ 2 w 53"/>
                  <a:gd name="T3" fmla="*/ 50 h 51"/>
                  <a:gd name="T4" fmla="*/ 1 w 53"/>
                  <a:gd name="T5" fmla="*/ 46 h 51"/>
                  <a:gd name="T6" fmla="*/ 45 w 53"/>
                  <a:gd name="T7" fmla="*/ 1 h 51"/>
                  <a:gd name="T8" fmla="*/ 50 w 53"/>
                  <a:gd name="T9" fmla="*/ 1 h 51"/>
                  <a:gd name="T10" fmla="*/ 51 w 53"/>
                  <a:gd name="T11" fmla="*/ 5 h 51"/>
                  <a:gd name="T12" fmla="*/ 8 w 53"/>
                  <a:gd name="T13" fmla="*/ 49 h 51"/>
                  <a:gd name="T14" fmla="*/ 4 w 53"/>
                  <a:gd name="T15" fmla="*/ 5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3" h="51">
                    <a:moveTo>
                      <a:pt x="4" y="51"/>
                    </a:moveTo>
                    <a:cubicBezTo>
                      <a:pt x="4" y="51"/>
                      <a:pt x="3" y="51"/>
                      <a:pt x="2" y="50"/>
                    </a:cubicBezTo>
                    <a:cubicBezTo>
                      <a:pt x="0" y="49"/>
                      <a:pt x="0" y="47"/>
                      <a:pt x="1" y="46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46" y="0"/>
                      <a:pt x="48" y="0"/>
                      <a:pt x="50" y="1"/>
                    </a:cubicBezTo>
                    <a:cubicBezTo>
                      <a:pt x="52" y="2"/>
                      <a:pt x="53" y="3"/>
                      <a:pt x="51" y="5"/>
                    </a:cubicBezTo>
                    <a:cubicBezTo>
                      <a:pt x="8" y="49"/>
                      <a:pt x="8" y="49"/>
                      <a:pt x="8" y="49"/>
                    </a:cubicBezTo>
                    <a:cubicBezTo>
                      <a:pt x="7" y="50"/>
                      <a:pt x="6" y="51"/>
                      <a:pt x="4" y="5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73" name="Freeform 80"/>
              <p:cNvSpPr>
                <a:spLocks/>
              </p:cNvSpPr>
              <p:nvPr/>
            </p:nvSpPr>
            <p:spPr bwMode="auto">
              <a:xfrm>
                <a:off x="312738" y="7739063"/>
                <a:ext cx="68263" cy="53975"/>
              </a:xfrm>
              <a:custGeom>
                <a:avLst/>
                <a:gdLst>
                  <a:gd name="T0" fmla="*/ 43 w 47"/>
                  <a:gd name="T1" fmla="*/ 38 h 38"/>
                  <a:gd name="T2" fmla="*/ 39 w 47"/>
                  <a:gd name="T3" fmla="*/ 37 h 38"/>
                  <a:gd name="T4" fmla="*/ 1 w 47"/>
                  <a:gd name="T5" fmla="*/ 5 h 38"/>
                  <a:gd name="T6" fmla="*/ 2 w 47"/>
                  <a:gd name="T7" fmla="*/ 1 h 38"/>
                  <a:gd name="T8" fmla="*/ 7 w 47"/>
                  <a:gd name="T9" fmla="*/ 1 h 38"/>
                  <a:gd name="T10" fmla="*/ 46 w 47"/>
                  <a:gd name="T11" fmla="*/ 33 h 38"/>
                  <a:gd name="T12" fmla="*/ 45 w 47"/>
                  <a:gd name="T13" fmla="*/ 37 h 38"/>
                  <a:gd name="T14" fmla="*/ 43 w 47"/>
                  <a:gd name="T1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7" h="38">
                    <a:moveTo>
                      <a:pt x="43" y="38"/>
                    </a:moveTo>
                    <a:cubicBezTo>
                      <a:pt x="41" y="38"/>
                      <a:pt x="40" y="38"/>
                      <a:pt x="39" y="37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4"/>
                      <a:pt x="0" y="2"/>
                      <a:pt x="2" y="1"/>
                    </a:cubicBezTo>
                    <a:cubicBezTo>
                      <a:pt x="3" y="0"/>
                      <a:pt x="6" y="0"/>
                      <a:pt x="7" y="1"/>
                    </a:cubicBezTo>
                    <a:cubicBezTo>
                      <a:pt x="46" y="33"/>
                      <a:pt x="46" y="33"/>
                      <a:pt x="46" y="33"/>
                    </a:cubicBezTo>
                    <a:cubicBezTo>
                      <a:pt x="47" y="34"/>
                      <a:pt x="47" y="36"/>
                      <a:pt x="45" y="37"/>
                    </a:cubicBezTo>
                    <a:cubicBezTo>
                      <a:pt x="44" y="38"/>
                      <a:pt x="43" y="38"/>
                      <a:pt x="43" y="38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74" name="Freeform 81"/>
              <p:cNvSpPr>
                <a:spLocks/>
              </p:cNvSpPr>
              <p:nvPr/>
            </p:nvSpPr>
            <p:spPr bwMode="auto">
              <a:xfrm>
                <a:off x="311150" y="7689850"/>
                <a:ext cx="65088" cy="57150"/>
              </a:xfrm>
              <a:custGeom>
                <a:avLst/>
                <a:gdLst>
                  <a:gd name="T0" fmla="*/ 5 w 45"/>
                  <a:gd name="T1" fmla="*/ 40 h 40"/>
                  <a:gd name="T2" fmla="*/ 3 w 45"/>
                  <a:gd name="T3" fmla="*/ 40 h 40"/>
                  <a:gd name="T4" fmla="*/ 2 w 45"/>
                  <a:gd name="T5" fmla="*/ 35 h 40"/>
                  <a:gd name="T6" fmla="*/ 37 w 45"/>
                  <a:gd name="T7" fmla="*/ 2 h 40"/>
                  <a:gd name="T8" fmla="*/ 43 w 45"/>
                  <a:gd name="T9" fmla="*/ 1 h 40"/>
                  <a:gd name="T10" fmla="*/ 43 w 45"/>
                  <a:gd name="T11" fmla="*/ 6 h 40"/>
                  <a:gd name="T12" fmla="*/ 8 w 45"/>
                  <a:gd name="T13" fmla="*/ 39 h 40"/>
                  <a:gd name="T14" fmla="*/ 5 w 45"/>
                  <a:gd name="T15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" h="40">
                    <a:moveTo>
                      <a:pt x="5" y="40"/>
                    </a:moveTo>
                    <a:cubicBezTo>
                      <a:pt x="4" y="40"/>
                      <a:pt x="3" y="40"/>
                      <a:pt x="3" y="40"/>
                    </a:cubicBezTo>
                    <a:cubicBezTo>
                      <a:pt x="1" y="39"/>
                      <a:pt x="0" y="37"/>
                      <a:pt x="2" y="35"/>
                    </a:cubicBezTo>
                    <a:cubicBezTo>
                      <a:pt x="37" y="2"/>
                      <a:pt x="37" y="2"/>
                      <a:pt x="37" y="2"/>
                    </a:cubicBezTo>
                    <a:cubicBezTo>
                      <a:pt x="38" y="1"/>
                      <a:pt x="41" y="0"/>
                      <a:pt x="43" y="1"/>
                    </a:cubicBezTo>
                    <a:cubicBezTo>
                      <a:pt x="45" y="2"/>
                      <a:pt x="45" y="4"/>
                      <a:pt x="43" y="6"/>
                    </a:cubicBezTo>
                    <a:cubicBezTo>
                      <a:pt x="8" y="39"/>
                      <a:pt x="8" y="39"/>
                      <a:pt x="8" y="39"/>
                    </a:cubicBezTo>
                    <a:cubicBezTo>
                      <a:pt x="7" y="40"/>
                      <a:pt x="6" y="40"/>
                      <a:pt x="5" y="4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75" name="Freeform 82"/>
              <p:cNvSpPr>
                <a:spLocks/>
              </p:cNvSpPr>
              <p:nvPr/>
            </p:nvSpPr>
            <p:spPr bwMode="auto">
              <a:xfrm>
                <a:off x="309563" y="7646988"/>
                <a:ext cx="66675" cy="52388"/>
              </a:xfrm>
              <a:custGeom>
                <a:avLst/>
                <a:gdLst>
                  <a:gd name="T0" fmla="*/ 42 w 47"/>
                  <a:gd name="T1" fmla="*/ 37 h 37"/>
                  <a:gd name="T2" fmla="*/ 39 w 47"/>
                  <a:gd name="T3" fmla="*/ 36 h 37"/>
                  <a:gd name="T4" fmla="*/ 2 w 47"/>
                  <a:gd name="T5" fmla="*/ 5 h 37"/>
                  <a:gd name="T6" fmla="*/ 2 w 47"/>
                  <a:gd name="T7" fmla="*/ 1 h 37"/>
                  <a:gd name="T8" fmla="*/ 8 w 47"/>
                  <a:gd name="T9" fmla="*/ 1 h 37"/>
                  <a:gd name="T10" fmla="*/ 45 w 47"/>
                  <a:gd name="T11" fmla="*/ 32 h 37"/>
                  <a:gd name="T12" fmla="*/ 45 w 47"/>
                  <a:gd name="T13" fmla="*/ 36 h 37"/>
                  <a:gd name="T14" fmla="*/ 42 w 47"/>
                  <a:gd name="T15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7" h="37">
                    <a:moveTo>
                      <a:pt x="42" y="37"/>
                    </a:moveTo>
                    <a:cubicBezTo>
                      <a:pt x="41" y="37"/>
                      <a:pt x="40" y="36"/>
                      <a:pt x="39" y="36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0" y="4"/>
                      <a:pt x="1" y="2"/>
                      <a:pt x="2" y="1"/>
                    </a:cubicBezTo>
                    <a:cubicBezTo>
                      <a:pt x="4" y="0"/>
                      <a:pt x="7" y="0"/>
                      <a:pt x="8" y="1"/>
                    </a:cubicBezTo>
                    <a:cubicBezTo>
                      <a:pt x="45" y="32"/>
                      <a:pt x="45" y="32"/>
                      <a:pt x="45" y="32"/>
                    </a:cubicBezTo>
                    <a:cubicBezTo>
                      <a:pt x="47" y="33"/>
                      <a:pt x="47" y="35"/>
                      <a:pt x="45" y="36"/>
                    </a:cubicBezTo>
                    <a:cubicBezTo>
                      <a:pt x="44" y="37"/>
                      <a:pt x="43" y="37"/>
                      <a:pt x="42" y="37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76" name="Freeform 83"/>
              <p:cNvSpPr>
                <a:spLocks/>
              </p:cNvSpPr>
              <p:nvPr/>
            </p:nvSpPr>
            <p:spPr bwMode="auto">
              <a:xfrm>
                <a:off x="309563" y="7605713"/>
                <a:ext cx="63500" cy="49213"/>
              </a:xfrm>
              <a:custGeom>
                <a:avLst/>
                <a:gdLst>
                  <a:gd name="T0" fmla="*/ 5 w 45"/>
                  <a:gd name="T1" fmla="*/ 35 h 35"/>
                  <a:gd name="T2" fmla="*/ 2 w 45"/>
                  <a:gd name="T3" fmla="*/ 35 h 35"/>
                  <a:gd name="T4" fmla="*/ 2 w 45"/>
                  <a:gd name="T5" fmla="*/ 30 h 35"/>
                  <a:gd name="T6" fmla="*/ 38 w 45"/>
                  <a:gd name="T7" fmla="*/ 2 h 35"/>
                  <a:gd name="T8" fmla="*/ 44 w 45"/>
                  <a:gd name="T9" fmla="*/ 1 h 35"/>
                  <a:gd name="T10" fmla="*/ 44 w 45"/>
                  <a:gd name="T11" fmla="*/ 6 h 35"/>
                  <a:gd name="T12" fmla="*/ 8 w 45"/>
                  <a:gd name="T13" fmla="*/ 34 h 35"/>
                  <a:gd name="T14" fmla="*/ 5 w 45"/>
                  <a:gd name="T15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" h="35">
                    <a:moveTo>
                      <a:pt x="5" y="35"/>
                    </a:moveTo>
                    <a:cubicBezTo>
                      <a:pt x="4" y="35"/>
                      <a:pt x="3" y="35"/>
                      <a:pt x="2" y="35"/>
                    </a:cubicBezTo>
                    <a:cubicBezTo>
                      <a:pt x="1" y="34"/>
                      <a:pt x="0" y="32"/>
                      <a:pt x="2" y="30"/>
                    </a:cubicBezTo>
                    <a:cubicBezTo>
                      <a:pt x="38" y="2"/>
                      <a:pt x="38" y="2"/>
                      <a:pt x="38" y="2"/>
                    </a:cubicBezTo>
                    <a:cubicBezTo>
                      <a:pt x="39" y="0"/>
                      <a:pt x="42" y="0"/>
                      <a:pt x="44" y="1"/>
                    </a:cubicBezTo>
                    <a:cubicBezTo>
                      <a:pt x="45" y="3"/>
                      <a:pt x="45" y="4"/>
                      <a:pt x="44" y="6"/>
                    </a:cubicBezTo>
                    <a:cubicBezTo>
                      <a:pt x="8" y="34"/>
                      <a:pt x="8" y="34"/>
                      <a:pt x="8" y="34"/>
                    </a:cubicBezTo>
                    <a:cubicBezTo>
                      <a:pt x="7" y="35"/>
                      <a:pt x="6" y="35"/>
                      <a:pt x="5" y="35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77" name="Freeform 84"/>
              <p:cNvSpPr>
                <a:spLocks/>
              </p:cNvSpPr>
              <p:nvPr/>
            </p:nvSpPr>
            <p:spPr bwMode="auto">
              <a:xfrm>
                <a:off x="312738" y="7558088"/>
                <a:ext cx="61913" cy="57150"/>
              </a:xfrm>
              <a:custGeom>
                <a:avLst/>
                <a:gdLst>
                  <a:gd name="T0" fmla="*/ 38 w 43"/>
                  <a:gd name="T1" fmla="*/ 40 h 40"/>
                  <a:gd name="T2" fmla="*/ 35 w 43"/>
                  <a:gd name="T3" fmla="*/ 38 h 40"/>
                  <a:gd name="T4" fmla="*/ 1 w 43"/>
                  <a:gd name="T5" fmla="*/ 5 h 40"/>
                  <a:gd name="T6" fmla="*/ 2 w 43"/>
                  <a:gd name="T7" fmla="*/ 1 h 40"/>
                  <a:gd name="T8" fmla="*/ 8 w 43"/>
                  <a:gd name="T9" fmla="*/ 2 h 40"/>
                  <a:gd name="T10" fmla="*/ 41 w 43"/>
                  <a:gd name="T11" fmla="*/ 35 h 40"/>
                  <a:gd name="T12" fmla="*/ 40 w 43"/>
                  <a:gd name="T13" fmla="*/ 39 h 40"/>
                  <a:gd name="T14" fmla="*/ 38 w 43"/>
                  <a:gd name="T15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3" h="40">
                    <a:moveTo>
                      <a:pt x="38" y="40"/>
                    </a:moveTo>
                    <a:cubicBezTo>
                      <a:pt x="37" y="40"/>
                      <a:pt x="35" y="39"/>
                      <a:pt x="35" y="38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4"/>
                      <a:pt x="0" y="2"/>
                      <a:pt x="2" y="1"/>
                    </a:cubicBezTo>
                    <a:cubicBezTo>
                      <a:pt x="4" y="0"/>
                      <a:pt x="7" y="0"/>
                      <a:pt x="8" y="2"/>
                    </a:cubicBezTo>
                    <a:cubicBezTo>
                      <a:pt x="41" y="35"/>
                      <a:pt x="41" y="35"/>
                      <a:pt x="41" y="35"/>
                    </a:cubicBezTo>
                    <a:cubicBezTo>
                      <a:pt x="43" y="36"/>
                      <a:pt x="42" y="38"/>
                      <a:pt x="40" y="39"/>
                    </a:cubicBezTo>
                    <a:cubicBezTo>
                      <a:pt x="40" y="39"/>
                      <a:pt x="39" y="40"/>
                      <a:pt x="38" y="4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78" name="Freeform 85"/>
              <p:cNvSpPr>
                <a:spLocks noEditPoints="1"/>
              </p:cNvSpPr>
              <p:nvPr/>
            </p:nvSpPr>
            <p:spPr bwMode="auto">
              <a:xfrm>
                <a:off x="287338" y="7958138"/>
                <a:ext cx="112713" cy="22225"/>
              </a:xfrm>
              <a:custGeom>
                <a:avLst/>
                <a:gdLst>
                  <a:gd name="T0" fmla="*/ 74 w 78"/>
                  <a:gd name="T1" fmla="*/ 16 h 16"/>
                  <a:gd name="T2" fmla="*/ 4 w 78"/>
                  <a:gd name="T3" fmla="*/ 16 h 16"/>
                  <a:gd name="T4" fmla="*/ 0 w 78"/>
                  <a:gd name="T5" fmla="*/ 13 h 16"/>
                  <a:gd name="T6" fmla="*/ 0 w 78"/>
                  <a:gd name="T7" fmla="*/ 3 h 16"/>
                  <a:gd name="T8" fmla="*/ 4 w 78"/>
                  <a:gd name="T9" fmla="*/ 0 h 16"/>
                  <a:gd name="T10" fmla="*/ 74 w 78"/>
                  <a:gd name="T11" fmla="*/ 0 h 16"/>
                  <a:gd name="T12" fmla="*/ 78 w 78"/>
                  <a:gd name="T13" fmla="*/ 3 h 16"/>
                  <a:gd name="T14" fmla="*/ 78 w 78"/>
                  <a:gd name="T15" fmla="*/ 13 h 16"/>
                  <a:gd name="T16" fmla="*/ 74 w 78"/>
                  <a:gd name="T17" fmla="*/ 16 h 16"/>
                  <a:gd name="T18" fmla="*/ 8 w 78"/>
                  <a:gd name="T19" fmla="*/ 10 h 16"/>
                  <a:gd name="T20" fmla="*/ 69 w 78"/>
                  <a:gd name="T21" fmla="*/ 10 h 16"/>
                  <a:gd name="T22" fmla="*/ 69 w 78"/>
                  <a:gd name="T23" fmla="*/ 6 h 16"/>
                  <a:gd name="T24" fmla="*/ 8 w 78"/>
                  <a:gd name="T25" fmla="*/ 6 h 16"/>
                  <a:gd name="T26" fmla="*/ 8 w 78"/>
                  <a:gd name="T27" fmla="*/ 1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8" h="16">
                    <a:moveTo>
                      <a:pt x="74" y="16"/>
                    </a:moveTo>
                    <a:cubicBezTo>
                      <a:pt x="4" y="16"/>
                      <a:pt x="4" y="16"/>
                      <a:pt x="4" y="16"/>
                    </a:cubicBezTo>
                    <a:cubicBezTo>
                      <a:pt x="1" y="16"/>
                      <a:pt x="0" y="15"/>
                      <a:pt x="0" y="1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1" y="0"/>
                      <a:pt x="4" y="0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76" y="0"/>
                      <a:pt x="78" y="1"/>
                      <a:pt x="78" y="3"/>
                    </a:cubicBezTo>
                    <a:cubicBezTo>
                      <a:pt x="78" y="13"/>
                      <a:pt x="78" y="13"/>
                      <a:pt x="78" y="13"/>
                    </a:cubicBezTo>
                    <a:cubicBezTo>
                      <a:pt x="78" y="15"/>
                      <a:pt x="76" y="16"/>
                      <a:pt x="74" y="16"/>
                    </a:cubicBezTo>
                    <a:close/>
                    <a:moveTo>
                      <a:pt x="8" y="10"/>
                    </a:moveTo>
                    <a:cubicBezTo>
                      <a:pt x="69" y="10"/>
                      <a:pt x="69" y="10"/>
                      <a:pt x="69" y="10"/>
                    </a:cubicBezTo>
                    <a:cubicBezTo>
                      <a:pt x="69" y="6"/>
                      <a:pt x="69" y="6"/>
                      <a:pt x="69" y="6"/>
                    </a:cubicBezTo>
                    <a:cubicBezTo>
                      <a:pt x="8" y="6"/>
                      <a:pt x="8" y="6"/>
                      <a:pt x="8" y="6"/>
                    </a:cubicBezTo>
                    <a:lnTo>
                      <a:pt x="8" y="1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79" name="Freeform 86"/>
              <p:cNvSpPr>
                <a:spLocks/>
              </p:cNvSpPr>
              <p:nvPr/>
            </p:nvSpPr>
            <p:spPr bwMode="auto">
              <a:xfrm>
                <a:off x="277813" y="8901113"/>
                <a:ext cx="128588" cy="6350"/>
              </a:xfrm>
              <a:custGeom>
                <a:avLst/>
                <a:gdLst>
                  <a:gd name="T0" fmla="*/ 87 w 90"/>
                  <a:gd name="T1" fmla="*/ 5 h 5"/>
                  <a:gd name="T2" fmla="*/ 2 w 90"/>
                  <a:gd name="T3" fmla="*/ 5 h 5"/>
                  <a:gd name="T4" fmla="*/ 0 w 90"/>
                  <a:gd name="T5" fmla="*/ 3 h 5"/>
                  <a:gd name="T6" fmla="*/ 2 w 90"/>
                  <a:gd name="T7" fmla="*/ 0 h 5"/>
                  <a:gd name="T8" fmla="*/ 87 w 90"/>
                  <a:gd name="T9" fmla="*/ 0 h 5"/>
                  <a:gd name="T10" fmla="*/ 90 w 90"/>
                  <a:gd name="T11" fmla="*/ 3 h 5"/>
                  <a:gd name="T12" fmla="*/ 87 w 90"/>
                  <a:gd name="T13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0" h="5">
                    <a:moveTo>
                      <a:pt x="87" y="5"/>
                    </a:moveTo>
                    <a:cubicBezTo>
                      <a:pt x="2" y="5"/>
                      <a:pt x="2" y="5"/>
                      <a:pt x="2" y="5"/>
                    </a:cubicBezTo>
                    <a:cubicBezTo>
                      <a:pt x="1" y="5"/>
                      <a:pt x="0" y="4"/>
                      <a:pt x="0" y="3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89" y="0"/>
                      <a:pt x="90" y="1"/>
                      <a:pt x="90" y="3"/>
                    </a:cubicBezTo>
                    <a:cubicBezTo>
                      <a:pt x="90" y="4"/>
                      <a:pt x="89" y="5"/>
                      <a:pt x="87" y="5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80" name="Freeform 87"/>
              <p:cNvSpPr>
                <a:spLocks/>
              </p:cNvSpPr>
              <p:nvPr/>
            </p:nvSpPr>
            <p:spPr bwMode="auto">
              <a:xfrm>
                <a:off x="-1150937" y="6856412"/>
                <a:ext cx="1092200" cy="236538"/>
              </a:xfrm>
              <a:custGeom>
                <a:avLst/>
                <a:gdLst>
                  <a:gd name="T0" fmla="*/ 647 w 759"/>
                  <a:gd name="T1" fmla="*/ 21 h 164"/>
                  <a:gd name="T2" fmla="*/ 577 w 759"/>
                  <a:gd name="T3" fmla="*/ 17 h 164"/>
                  <a:gd name="T4" fmla="*/ 525 w 759"/>
                  <a:gd name="T5" fmla="*/ 33 h 164"/>
                  <a:gd name="T6" fmla="*/ 459 w 759"/>
                  <a:gd name="T7" fmla="*/ 17 h 164"/>
                  <a:gd name="T8" fmla="*/ 415 w 759"/>
                  <a:gd name="T9" fmla="*/ 22 h 164"/>
                  <a:gd name="T10" fmla="*/ 359 w 759"/>
                  <a:gd name="T11" fmla="*/ 1 h 164"/>
                  <a:gd name="T12" fmla="*/ 319 w 759"/>
                  <a:gd name="T13" fmla="*/ 18 h 164"/>
                  <a:gd name="T14" fmla="*/ 254 w 759"/>
                  <a:gd name="T15" fmla="*/ 3 h 164"/>
                  <a:gd name="T16" fmla="*/ 200 w 759"/>
                  <a:gd name="T17" fmla="*/ 31 h 164"/>
                  <a:gd name="T18" fmla="*/ 122 w 759"/>
                  <a:gd name="T19" fmla="*/ 35 h 164"/>
                  <a:gd name="T20" fmla="*/ 102 w 759"/>
                  <a:gd name="T21" fmla="*/ 62 h 164"/>
                  <a:gd name="T22" fmla="*/ 72 w 759"/>
                  <a:gd name="T23" fmla="*/ 70 h 164"/>
                  <a:gd name="T24" fmla="*/ 11 w 759"/>
                  <a:gd name="T25" fmla="*/ 84 h 164"/>
                  <a:gd name="T26" fmla="*/ 29 w 759"/>
                  <a:gd name="T27" fmla="*/ 128 h 164"/>
                  <a:gd name="T28" fmla="*/ 62 w 759"/>
                  <a:gd name="T29" fmla="*/ 160 h 164"/>
                  <a:gd name="T30" fmla="*/ 131 w 759"/>
                  <a:gd name="T31" fmla="*/ 134 h 164"/>
                  <a:gd name="T32" fmla="*/ 190 w 759"/>
                  <a:gd name="T33" fmla="*/ 143 h 164"/>
                  <a:gd name="T34" fmla="*/ 250 w 759"/>
                  <a:gd name="T35" fmla="*/ 119 h 164"/>
                  <a:gd name="T36" fmla="*/ 341 w 759"/>
                  <a:gd name="T37" fmla="*/ 114 h 164"/>
                  <a:gd name="T38" fmla="*/ 452 w 759"/>
                  <a:gd name="T39" fmla="*/ 86 h 164"/>
                  <a:gd name="T40" fmla="*/ 506 w 759"/>
                  <a:gd name="T41" fmla="*/ 91 h 164"/>
                  <a:gd name="T42" fmla="*/ 533 w 759"/>
                  <a:gd name="T43" fmla="*/ 81 h 164"/>
                  <a:gd name="T44" fmla="*/ 568 w 759"/>
                  <a:gd name="T45" fmla="*/ 70 h 164"/>
                  <a:gd name="T46" fmla="*/ 589 w 759"/>
                  <a:gd name="T47" fmla="*/ 51 h 164"/>
                  <a:gd name="T48" fmla="*/ 601 w 759"/>
                  <a:gd name="T49" fmla="*/ 52 h 164"/>
                  <a:gd name="T50" fmla="*/ 673 w 759"/>
                  <a:gd name="T51" fmla="*/ 47 h 164"/>
                  <a:gd name="T52" fmla="*/ 759 w 759"/>
                  <a:gd name="T53" fmla="*/ 50 h 164"/>
                  <a:gd name="T54" fmla="*/ 647 w 759"/>
                  <a:gd name="T55" fmla="*/ 21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759" h="164">
                    <a:moveTo>
                      <a:pt x="647" y="21"/>
                    </a:moveTo>
                    <a:cubicBezTo>
                      <a:pt x="618" y="16"/>
                      <a:pt x="608" y="6"/>
                      <a:pt x="577" y="17"/>
                    </a:cubicBezTo>
                    <a:cubicBezTo>
                      <a:pt x="556" y="24"/>
                      <a:pt x="557" y="35"/>
                      <a:pt x="525" y="33"/>
                    </a:cubicBezTo>
                    <a:cubicBezTo>
                      <a:pt x="502" y="32"/>
                      <a:pt x="484" y="16"/>
                      <a:pt x="459" y="17"/>
                    </a:cubicBezTo>
                    <a:cubicBezTo>
                      <a:pt x="435" y="18"/>
                      <a:pt x="438" y="27"/>
                      <a:pt x="415" y="22"/>
                    </a:cubicBezTo>
                    <a:cubicBezTo>
                      <a:pt x="397" y="19"/>
                      <a:pt x="380" y="0"/>
                      <a:pt x="359" y="1"/>
                    </a:cubicBezTo>
                    <a:cubicBezTo>
                      <a:pt x="347" y="2"/>
                      <a:pt x="326" y="14"/>
                      <a:pt x="319" y="18"/>
                    </a:cubicBezTo>
                    <a:cubicBezTo>
                      <a:pt x="294" y="18"/>
                      <a:pt x="283" y="3"/>
                      <a:pt x="254" y="3"/>
                    </a:cubicBezTo>
                    <a:cubicBezTo>
                      <a:pt x="222" y="4"/>
                      <a:pt x="209" y="16"/>
                      <a:pt x="200" y="31"/>
                    </a:cubicBezTo>
                    <a:cubicBezTo>
                      <a:pt x="176" y="28"/>
                      <a:pt x="143" y="23"/>
                      <a:pt x="122" y="35"/>
                    </a:cubicBezTo>
                    <a:cubicBezTo>
                      <a:pt x="112" y="41"/>
                      <a:pt x="111" y="55"/>
                      <a:pt x="102" y="62"/>
                    </a:cubicBezTo>
                    <a:cubicBezTo>
                      <a:pt x="86" y="75"/>
                      <a:pt x="94" y="68"/>
                      <a:pt x="72" y="70"/>
                    </a:cubicBezTo>
                    <a:cubicBezTo>
                      <a:pt x="55" y="71"/>
                      <a:pt x="25" y="71"/>
                      <a:pt x="11" y="84"/>
                    </a:cubicBezTo>
                    <a:cubicBezTo>
                      <a:pt x="0" y="95"/>
                      <a:pt x="9" y="121"/>
                      <a:pt x="29" y="128"/>
                    </a:cubicBezTo>
                    <a:cubicBezTo>
                      <a:pt x="33" y="128"/>
                      <a:pt x="0" y="153"/>
                      <a:pt x="62" y="160"/>
                    </a:cubicBezTo>
                    <a:cubicBezTo>
                      <a:pt x="90" y="164"/>
                      <a:pt x="123" y="149"/>
                      <a:pt x="131" y="134"/>
                    </a:cubicBezTo>
                    <a:cubicBezTo>
                      <a:pt x="149" y="142"/>
                      <a:pt x="168" y="145"/>
                      <a:pt x="190" y="143"/>
                    </a:cubicBezTo>
                    <a:cubicBezTo>
                      <a:pt x="206" y="125"/>
                      <a:pt x="214" y="120"/>
                      <a:pt x="250" y="119"/>
                    </a:cubicBezTo>
                    <a:cubicBezTo>
                      <a:pt x="269" y="118"/>
                      <a:pt x="330" y="123"/>
                      <a:pt x="341" y="114"/>
                    </a:cubicBezTo>
                    <a:cubicBezTo>
                      <a:pt x="372" y="86"/>
                      <a:pt x="432" y="105"/>
                      <a:pt x="452" y="86"/>
                    </a:cubicBezTo>
                    <a:cubicBezTo>
                      <a:pt x="463" y="91"/>
                      <a:pt x="490" y="93"/>
                      <a:pt x="506" y="91"/>
                    </a:cubicBezTo>
                    <a:cubicBezTo>
                      <a:pt x="526" y="89"/>
                      <a:pt x="521" y="91"/>
                      <a:pt x="533" y="81"/>
                    </a:cubicBezTo>
                    <a:cubicBezTo>
                      <a:pt x="548" y="70"/>
                      <a:pt x="552" y="76"/>
                      <a:pt x="568" y="70"/>
                    </a:cubicBezTo>
                    <a:cubicBezTo>
                      <a:pt x="578" y="66"/>
                      <a:pt x="584" y="58"/>
                      <a:pt x="589" y="51"/>
                    </a:cubicBezTo>
                    <a:cubicBezTo>
                      <a:pt x="592" y="51"/>
                      <a:pt x="595" y="52"/>
                      <a:pt x="601" y="52"/>
                    </a:cubicBezTo>
                    <a:cubicBezTo>
                      <a:pt x="623" y="51"/>
                      <a:pt x="648" y="46"/>
                      <a:pt x="673" y="47"/>
                    </a:cubicBezTo>
                    <a:cubicBezTo>
                      <a:pt x="700" y="48"/>
                      <a:pt x="729" y="51"/>
                      <a:pt x="759" y="50"/>
                    </a:cubicBezTo>
                    <a:cubicBezTo>
                      <a:pt x="745" y="17"/>
                      <a:pt x="692" y="29"/>
                      <a:pt x="647" y="21"/>
                    </a:cubicBezTo>
                    <a:close/>
                  </a:path>
                </a:pathLst>
              </a:custGeom>
              <a:solidFill>
                <a:srgbClr val="96938C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81" name="Freeform 88"/>
              <p:cNvSpPr>
                <a:spLocks/>
              </p:cNvSpPr>
              <p:nvPr/>
            </p:nvSpPr>
            <p:spPr bwMode="auto">
              <a:xfrm>
                <a:off x="-854075" y="7173913"/>
                <a:ext cx="739775" cy="171450"/>
              </a:xfrm>
              <a:custGeom>
                <a:avLst/>
                <a:gdLst>
                  <a:gd name="T0" fmla="*/ 438 w 514"/>
                  <a:gd name="T1" fmla="*/ 15 h 119"/>
                  <a:gd name="T2" fmla="*/ 391 w 514"/>
                  <a:gd name="T3" fmla="*/ 12 h 119"/>
                  <a:gd name="T4" fmla="*/ 355 w 514"/>
                  <a:gd name="T5" fmla="*/ 24 h 119"/>
                  <a:gd name="T6" fmla="*/ 311 w 514"/>
                  <a:gd name="T7" fmla="*/ 12 h 119"/>
                  <a:gd name="T8" fmla="*/ 281 w 514"/>
                  <a:gd name="T9" fmla="*/ 16 h 119"/>
                  <a:gd name="T10" fmla="*/ 243 w 514"/>
                  <a:gd name="T11" fmla="*/ 0 h 119"/>
                  <a:gd name="T12" fmla="*/ 216 w 514"/>
                  <a:gd name="T13" fmla="*/ 13 h 119"/>
                  <a:gd name="T14" fmla="*/ 171 w 514"/>
                  <a:gd name="T15" fmla="*/ 2 h 119"/>
                  <a:gd name="T16" fmla="*/ 135 w 514"/>
                  <a:gd name="T17" fmla="*/ 22 h 119"/>
                  <a:gd name="T18" fmla="*/ 82 w 514"/>
                  <a:gd name="T19" fmla="*/ 25 h 119"/>
                  <a:gd name="T20" fmla="*/ 69 w 514"/>
                  <a:gd name="T21" fmla="*/ 45 h 119"/>
                  <a:gd name="T22" fmla="*/ 48 w 514"/>
                  <a:gd name="T23" fmla="*/ 51 h 119"/>
                  <a:gd name="T24" fmla="*/ 7 w 514"/>
                  <a:gd name="T25" fmla="*/ 61 h 119"/>
                  <a:gd name="T26" fmla="*/ 19 w 514"/>
                  <a:gd name="T27" fmla="*/ 93 h 119"/>
                  <a:gd name="T28" fmla="*/ 41 w 514"/>
                  <a:gd name="T29" fmla="*/ 117 h 119"/>
                  <a:gd name="T30" fmla="*/ 88 w 514"/>
                  <a:gd name="T31" fmla="*/ 98 h 119"/>
                  <a:gd name="T32" fmla="*/ 129 w 514"/>
                  <a:gd name="T33" fmla="*/ 104 h 119"/>
                  <a:gd name="T34" fmla="*/ 169 w 514"/>
                  <a:gd name="T35" fmla="*/ 86 h 119"/>
                  <a:gd name="T36" fmla="*/ 230 w 514"/>
                  <a:gd name="T37" fmla="*/ 83 h 119"/>
                  <a:gd name="T38" fmla="*/ 306 w 514"/>
                  <a:gd name="T39" fmla="*/ 62 h 119"/>
                  <a:gd name="T40" fmla="*/ 343 w 514"/>
                  <a:gd name="T41" fmla="*/ 66 h 119"/>
                  <a:gd name="T42" fmla="*/ 361 w 514"/>
                  <a:gd name="T43" fmla="*/ 59 h 119"/>
                  <a:gd name="T44" fmla="*/ 385 w 514"/>
                  <a:gd name="T45" fmla="*/ 50 h 119"/>
                  <a:gd name="T46" fmla="*/ 399 w 514"/>
                  <a:gd name="T47" fmla="*/ 36 h 119"/>
                  <a:gd name="T48" fmla="*/ 407 w 514"/>
                  <a:gd name="T49" fmla="*/ 37 h 119"/>
                  <a:gd name="T50" fmla="*/ 456 w 514"/>
                  <a:gd name="T51" fmla="*/ 34 h 119"/>
                  <a:gd name="T52" fmla="*/ 514 w 514"/>
                  <a:gd name="T53" fmla="*/ 36 h 119"/>
                  <a:gd name="T54" fmla="*/ 438 w 514"/>
                  <a:gd name="T55" fmla="*/ 15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14" h="119">
                    <a:moveTo>
                      <a:pt x="438" y="15"/>
                    </a:moveTo>
                    <a:cubicBezTo>
                      <a:pt x="418" y="11"/>
                      <a:pt x="412" y="4"/>
                      <a:pt x="391" y="12"/>
                    </a:cubicBezTo>
                    <a:cubicBezTo>
                      <a:pt x="377" y="17"/>
                      <a:pt x="377" y="25"/>
                      <a:pt x="355" y="24"/>
                    </a:cubicBezTo>
                    <a:cubicBezTo>
                      <a:pt x="340" y="23"/>
                      <a:pt x="328" y="11"/>
                      <a:pt x="311" y="12"/>
                    </a:cubicBezTo>
                    <a:cubicBezTo>
                      <a:pt x="294" y="12"/>
                      <a:pt x="297" y="19"/>
                      <a:pt x="281" y="16"/>
                    </a:cubicBezTo>
                    <a:cubicBezTo>
                      <a:pt x="269" y="13"/>
                      <a:pt x="257" y="0"/>
                      <a:pt x="243" y="0"/>
                    </a:cubicBezTo>
                    <a:cubicBezTo>
                      <a:pt x="235" y="1"/>
                      <a:pt x="220" y="10"/>
                      <a:pt x="216" y="13"/>
                    </a:cubicBezTo>
                    <a:cubicBezTo>
                      <a:pt x="199" y="12"/>
                      <a:pt x="191" y="2"/>
                      <a:pt x="171" y="2"/>
                    </a:cubicBezTo>
                    <a:cubicBezTo>
                      <a:pt x="150" y="2"/>
                      <a:pt x="141" y="11"/>
                      <a:pt x="135" y="22"/>
                    </a:cubicBezTo>
                    <a:cubicBezTo>
                      <a:pt x="119" y="20"/>
                      <a:pt x="96" y="16"/>
                      <a:pt x="82" y="25"/>
                    </a:cubicBezTo>
                    <a:cubicBezTo>
                      <a:pt x="75" y="30"/>
                      <a:pt x="75" y="40"/>
                      <a:pt x="69" y="45"/>
                    </a:cubicBezTo>
                    <a:cubicBezTo>
                      <a:pt x="58" y="54"/>
                      <a:pt x="63" y="49"/>
                      <a:pt x="48" y="51"/>
                    </a:cubicBezTo>
                    <a:cubicBezTo>
                      <a:pt x="37" y="51"/>
                      <a:pt x="16" y="51"/>
                      <a:pt x="7" y="61"/>
                    </a:cubicBezTo>
                    <a:cubicBezTo>
                      <a:pt x="0" y="69"/>
                      <a:pt x="6" y="88"/>
                      <a:pt x="19" y="93"/>
                    </a:cubicBezTo>
                    <a:cubicBezTo>
                      <a:pt x="22" y="93"/>
                      <a:pt x="0" y="111"/>
                      <a:pt x="41" y="117"/>
                    </a:cubicBezTo>
                    <a:cubicBezTo>
                      <a:pt x="61" y="119"/>
                      <a:pt x="83" y="109"/>
                      <a:pt x="88" y="98"/>
                    </a:cubicBezTo>
                    <a:cubicBezTo>
                      <a:pt x="100" y="103"/>
                      <a:pt x="114" y="105"/>
                      <a:pt x="129" y="104"/>
                    </a:cubicBezTo>
                    <a:cubicBezTo>
                      <a:pt x="139" y="91"/>
                      <a:pt x="145" y="87"/>
                      <a:pt x="169" y="86"/>
                    </a:cubicBezTo>
                    <a:cubicBezTo>
                      <a:pt x="182" y="86"/>
                      <a:pt x="223" y="90"/>
                      <a:pt x="230" y="83"/>
                    </a:cubicBezTo>
                    <a:cubicBezTo>
                      <a:pt x="252" y="63"/>
                      <a:pt x="293" y="76"/>
                      <a:pt x="306" y="62"/>
                    </a:cubicBezTo>
                    <a:cubicBezTo>
                      <a:pt x="313" y="66"/>
                      <a:pt x="331" y="67"/>
                      <a:pt x="343" y="66"/>
                    </a:cubicBezTo>
                    <a:cubicBezTo>
                      <a:pt x="356" y="65"/>
                      <a:pt x="353" y="66"/>
                      <a:pt x="361" y="59"/>
                    </a:cubicBezTo>
                    <a:cubicBezTo>
                      <a:pt x="371" y="51"/>
                      <a:pt x="374" y="55"/>
                      <a:pt x="385" y="50"/>
                    </a:cubicBezTo>
                    <a:cubicBezTo>
                      <a:pt x="392" y="47"/>
                      <a:pt x="396" y="42"/>
                      <a:pt x="399" y="36"/>
                    </a:cubicBezTo>
                    <a:cubicBezTo>
                      <a:pt x="401" y="37"/>
                      <a:pt x="403" y="38"/>
                      <a:pt x="407" y="37"/>
                    </a:cubicBezTo>
                    <a:cubicBezTo>
                      <a:pt x="422" y="37"/>
                      <a:pt x="439" y="33"/>
                      <a:pt x="456" y="34"/>
                    </a:cubicBezTo>
                    <a:cubicBezTo>
                      <a:pt x="474" y="34"/>
                      <a:pt x="494" y="37"/>
                      <a:pt x="514" y="36"/>
                    </a:cubicBezTo>
                    <a:cubicBezTo>
                      <a:pt x="505" y="11"/>
                      <a:pt x="469" y="20"/>
                      <a:pt x="438" y="15"/>
                    </a:cubicBezTo>
                    <a:close/>
                  </a:path>
                </a:pathLst>
              </a:custGeom>
              <a:solidFill>
                <a:srgbClr val="96938C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82" name="Freeform 89"/>
              <p:cNvSpPr>
                <a:spLocks/>
              </p:cNvSpPr>
              <p:nvPr/>
            </p:nvSpPr>
            <p:spPr bwMode="auto">
              <a:xfrm>
                <a:off x="-660400" y="7389813"/>
                <a:ext cx="639763" cy="150813"/>
              </a:xfrm>
              <a:custGeom>
                <a:avLst/>
                <a:gdLst>
                  <a:gd name="T0" fmla="*/ 379 w 445"/>
                  <a:gd name="T1" fmla="*/ 13 h 105"/>
                  <a:gd name="T2" fmla="*/ 338 w 445"/>
                  <a:gd name="T3" fmla="*/ 11 h 105"/>
                  <a:gd name="T4" fmla="*/ 308 w 445"/>
                  <a:gd name="T5" fmla="*/ 21 h 105"/>
                  <a:gd name="T6" fmla="*/ 269 w 445"/>
                  <a:gd name="T7" fmla="*/ 11 h 105"/>
                  <a:gd name="T8" fmla="*/ 243 w 445"/>
                  <a:gd name="T9" fmla="*/ 14 h 105"/>
                  <a:gd name="T10" fmla="*/ 210 w 445"/>
                  <a:gd name="T11" fmla="*/ 1 h 105"/>
                  <a:gd name="T12" fmla="*/ 187 w 445"/>
                  <a:gd name="T13" fmla="*/ 12 h 105"/>
                  <a:gd name="T14" fmla="*/ 148 w 445"/>
                  <a:gd name="T15" fmla="*/ 2 h 105"/>
                  <a:gd name="T16" fmla="*/ 117 w 445"/>
                  <a:gd name="T17" fmla="*/ 20 h 105"/>
                  <a:gd name="T18" fmla="*/ 71 w 445"/>
                  <a:gd name="T19" fmla="*/ 23 h 105"/>
                  <a:gd name="T20" fmla="*/ 60 w 445"/>
                  <a:gd name="T21" fmla="*/ 40 h 105"/>
                  <a:gd name="T22" fmla="*/ 42 w 445"/>
                  <a:gd name="T23" fmla="*/ 45 h 105"/>
                  <a:gd name="T24" fmla="*/ 6 w 445"/>
                  <a:gd name="T25" fmla="*/ 54 h 105"/>
                  <a:gd name="T26" fmla="*/ 17 w 445"/>
                  <a:gd name="T27" fmla="*/ 82 h 105"/>
                  <a:gd name="T28" fmla="*/ 36 w 445"/>
                  <a:gd name="T29" fmla="*/ 103 h 105"/>
                  <a:gd name="T30" fmla="*/ 76 w 445"/>
                  <a:gd name="T31" fmla="*/ 86 h 105"/>
                  <a:gd name="T32" fmla="*/ 111 w 445"/>
                  <a:gd name="T33" fmla="*/ 92 h 105"/>
                  <a:gd name="T34" fmla="*/ 146 w 445"/>
                  <a:gd name="T35" fmla="*/ 76 h 105"/>
                  <a:gd name="T36" fmla="*/ 199 w 445"/>
                  <a:gd name="T37" fmla="*/ 73 h 105"/>
                  <a:gd name="T38" fmla="*/ 265 w 445"/>
                  <a:gd name="T39" fmla="*/ 55 h 105"/>
                  <a:gd name="T40" fmla="*/ 297 w 445"/>
                  <a:gd name="T41" fmla="*/ 58 h 105"/>
                  <a:gd name="T42" fmla="*/ 313 w 445"/>
                  <a:gd name="T43" fmla="*/ 52 h 105"/>
                  <a:gd name="T44" fmla="*/ 333 w 445"/>
                  <a:gd name="T45" fmla="*/ 45 h 105"/>
                  <a:gd name="T46" fmla="*/ 345 w 445"/>
                  <a:gd name="T47" fmla="*/ 32 h 105"/>
                  <a:gd name="T48" fmla="*/ 352 w 445"/>
                  <a:gd name="T49" fmla="*/ 33 h 105"/>
                  <a:gd name="T50" fmla="*/ 395 w 445"/>
                  <a:gd name="T51" fmla="*/ 30 h 105"/>
                  <a:gd name="T52" fmla="*/ 445 w 445"/>
                  <a:gd name="T53" fmla="*/ 32 h 105"/>
                  <a:gd name="T54" fmla="*/ 379 w 445"/>
                  <a:gd name="T55" fmla="*/ 13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45" h="105">
                    <a:moveTo>
                      <a:pt x="379" y="13"/>
                    </a:moveTo>
                    <a:cubicBezTo>
                      <a:pt x="362" y="10"/>
                      <a:pt x="357" y="4"/>
                      <a:pt x="338" y="11"/>
                    </a:cubicBezTo>
                    <a:cubicBezTo>
                      <a:pt x="326" y="15"/>
                      <a:pt x="327" y="22"/>
                      <a:pt x="308" y="21"/>
                    </a:cubicBezTo>
                    <a:cubicBezTo>
                      <a:pt x="294" y="20"/>
                      <a:pt x="284" y="10"/>
                      <a:pt x="269" y="11"/>
                    </a:cubicBezTo>
                    <a:cubicBezTo>
                      <a:pt x="255" y="11"/>
                      <a:pt x="257" y="17"/>
                      <a:pt x="243" y="14"/>
                    </a:cubicBezTo>
                    <a:cubicBezTo>
                      <a:pt x="233" y="12"/>
                      <a:pt x="223" y="0"/>
                      <a:pt x="210" y="1"/>
                    </a:cubicBezTo>
                    <a:cubicBezTo>
                      <a:pt x="203" y="1"/>
                      <a:pt x="191" y="9"/>
                      <a:pt x="187" y="12"/>
                    </a:cubicBezTo>
                    <a:cubicBezTo>
                      <a:pt x="172" y="11"/>
                      <a:pt x="165" y="2"/>
                      <a:pt x="148" y="2"/>
                    </a:cubicBezTo>
                    <a:cubicBezTo>
                      <a:pt x="130" y="2"/>
                      <a:pt x="122" y="10"/>
                      <a:pt x="117" y="20"/>
                    </a:cubicBezTo>
                    <a:cubicBezTo>
                      <a:pt x="103" y="18"/>
                      <a:pt x="83" y="15"/>
                      <a:pt x="71" y="23"/>
                    </a:cubicBezTo>
                    <a:cubicBezTo>
                      <a:pt x="65" y="26"/>
                      <a:pt x="65" y="35"/>
                      <a:pt x="60" y="40"/>
                    </a:cubicBezTo>
                    <a:cubicBezTo>
                      <a:pt x="50" y="48"/>
                      <a:pt x="55" y="44"/>
                      <a:pt x="42" y="45"/>
                    </a:cubicBezTo>
                    <a:cubicBezTo>
                      <a:pt x="32" y="46"/>
                      <a:pt x="14" y="45"/>
                      <a:pt x="6" y="54"/>
                    </a:cubicBezTo>
                    <a:cubicBezTo>
                      <a:pt x="0" y="61"/>
                      <a:pt x="5" y="78"/>
                      <a:pt x="17" y="82"/>
                    </a:cubicBezTo>
                    <a:cubicBezTo>
                      <a:pt x="19" y="82"/>
                      <a:pt x="0" y="98"/>
                      <a:pt x="36" y="103"/>
                    </a:cubicBezTo>
                    <a:cubicBezTo>
                      <a:pt x="53" y="105"/>
                      <a:pt x="72" y="96"/>
                      <a:pt x="76" y="86"/>
                    </a:cubicBezTo>
                    <a:cubicBezTo>
                      <a:pt x="87" y="91"/>
                      <a:pt x="98" y="93"/>
                      <a:pt x="111" y="92"/>
                    </a:cubicBezTo>
                    <a:cubicBezTo>
                      <a:pt x="121" y="80"/>
                      <a:pt x="125" y="77"/>
                      <a:pt x="146" y="76"/>
                    </a:cubicBezTo>
                    <a:cubicBezTo>
                      <a:pt x="158" y="76"/>
                      <a:pt x="193" y="79"/>
                      <a:pt x="199" y="73"/>
                    </a:cubicBezTo>
                    <a:cubicBezTo>
                      <a:pt x="218" y="55"/>
                      <a:pt x="253" y="67"/>
                      <a:pt x="265" y="55"/>
                    </a:cubicBezTo>
                    <a:cubicBezTo>
                      <a:pt x="271" y="59"/>
                      <a:pt x="287" y="59"/>
                      <a:pt x="297" y="58"/>
                    </a:cubicBezTo>
                    <a:cubicBezTo>
                      <a:pt x="308" y="57"/>
                      <a:pt x="305" y="58"/>
                      <a:pt x="313" y="52"/>
                    </a:cubicBezTo>
                    <a:cubicBezTo>
                      <a:pt x="321" y="45"/>
                      <a:pt x="324" y="49"/>
                      <a:pt x="333" y="45"/>
                    </a:cubicBezTo>
                    <a:cubicBezTo>
                      <a:pt x="339" y="42"/>
                      <a:pt x="343" y="37"/>
                      <a:pt x="345" y="32"/>
                    </a:cubicBezTo>
                    <a:cubicBezTo>
                      <a:pt x="347" y="33"/>
                      <a:pt x="349" y="33"/>
                      <a:pt x="352" y="33"/>
                    </a:cubicBezTo>
                    <a:cubicBezTo>
                      <a:pt x="365" y="33"/>
                      <a:pt x="380" y="29"/>
                      <a:pt x="395" y="30"/>
                    </a:cubicBezTo>
                    <a:cubicBezTo>
                      <a:pt x="410" y="30"/>
                      <a:pt x="427" y="33"/>
                      <a:pt x="445" y="32"/>
                    </a:cubicBezTo>
                    <a:cubicBezTo>
                      <a:pt x="437" y="10"/>
                      <a:pt x="406" y="18"/>
                      <a:pt x="379" y="13"/>
                    </a:cubicBezTo>
                    <a:close/>
                  </a:path>
                </a:pathLst>
              </a:custGeom>
              <a:solidFill>
                <a:srgbClr val="96938C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83" name="Freeform 90"/>
              <p:cNvSpPr>
                <a:spLocks noEditPoints="1"/>
              </p:cNvSpPr>
              <p:nvPr/>
            </p:nvSpPr>
            <p:spPr bwMode="auto">
              <a:xfrm>
                <a:off x="-3184526" y="7158038"/>
                <a:ext cx="3748089" cy="1816100"/>
              </a:xfrm>
              <a:custGeom>
                <a:avLst/>
                <a:gdLst>
                  <a:gd name="T0" fmla="*/ 2413 w 2605"/>
                  <a:gd name="T1" fmla="*/ 1210 h 1262"/>
                  <a:gd name="T2" fmla="*/ 2413 w 2605"/>
                  <a:gd name="T3" fmla="*/ 1020 h 1262"/>
                  <a:gd name="T4" fmla="*/ 2413 w 2605"/>
                  <a:gd name="T5" fmla="*/ 1020 h 1262"/>
                  <a:gd name="T6" fmla="*/ 2413 w 2605"/>
                  <a:gd name="T7" fmla="*/ 908 h 1262"/>
                  <a:gd name="T8" fmla="*/ 2234 w 2605"/>
                  <a:gd name="T9" fmla="*/ 1020 h 1262"/>
                  <a:gd name="T10" fmla="*/ 2234 w 2605"/>
                  <a:gd name="T11" fmla="*/ 908 h 1262"/>
                  <a:gd name="T12" fmla="*/ 2056 w 2605"/>
                  <a:gd name="T13" fmla="*/ 1020 h 1262"/>
                  <a:gd name="T14" fmla="*/ 2056 w 2605"/>
                  <a:gd name="T15" fmla="*/ 908 h 1262"/>
                  <a:gd name="T16" fmla="*/ 1877 w 2605"/>
                  <a:gd name="T17" fmla="*/ 1020 h 1262"/>
                  <a:gd name="T18" fmla="*/ 1877 w 2605"/>
                  <a:gd name="T19" fmla="*/ 1020 h 1262"/>
                  <a:gd name="T20" fmla="*/ 1877 w 2605"/>
                  <a:gd name="T21" fmla="*/ 799 h 1262"/>
                  <a:gd name="T22" fmla="*/ 1854 w 2605"/>
                  <a:gd name="T23" fmla="*/ 799 h 1262"/>
                  <a:gd name="T24" fmla="*/ 1838 w 2605"/>
                  <a:gd name="T25" fmla="*/ 312 h 1262"/>
                  <a:gd name="T26" fmla="*/ 1838 w 2605"/>
                  <a:gd name="T27" fmla="*/ 312 h 1262"/>
                  <a:gd name="T28" fmla="*/ 1808 w 2605"/>
                  <a:gd name="T29" fmla="*/ 305 h 1262"/>
                  <a:gd name="T30" fmla="*/ 1779 w 2605"/>
                  <a:gd name="T31" fmla="*/ 312 h 1262"/>
                  <a:gd name="T32" fmla="*/ 1779 w 2605"/>
                  <a:gd name="T33" fmla="*/ 312 h 1262"/>
                  <a:gd name="T34" fmla="*/ 1754 w 2605"/>
                  <a:gd name="T35" fmla="*/ 799 h 1262"/>
                  <a:gd name="T36" fmla="*/ 1730 w 2605"/>
                  <a:gd name="T37" fmla="*/ 799 h 1262"/>
                  <a:gd name="T38" fmla="*/ 1730 w 2605"/>
                  <a:gd name="T39" fmla="*/ 743 h 1262"/>
                  <a:gd name="T40" fmla="*/ 1693 w 2605"/>
                  <a:gd name="T41" fmla="*/ 743 h 1262"/>
                  <a:gd name="T42" fmla="*/ 1675 w 2605"/>
                  <a:gd name="T43" fmla="*/ 183 h 1262"/>
                  <a:gd name="T44" fmla="*/ 1675 w 2605"/>
                  <a:gd name="T45" fmla="*/ 183 h 1262"/>
                  <a:gd name="T46" fmla="*/ 1640 w 2605"/>
                  <a:gd name="T47" fmla="*/ 176 h 1262"/>
                  <a:gd name="T48" fmla="*/ 1605 w 2605"/>
                  <a:gd name="T49" fmla="*/ 183 h 1262"/>
                  <a:gd name="T50" fmla="*/ 1605 w 2605"/>
                  <a:gd name="T51" fmla="*/ 183 h 1262"/>
                  <a:gd name="T52" fmla="*/ 1576 w 2605"/>
                  <a:gd name="T53" fmla="*/ 743 h 1262"/>
                  <a:gd name="T54" fmla="*/ 1539 w 2605"/>
                  <a:gd name="T55" fmla="*/ 743 h 1262"/>
                  <a:gd name="T56" fmla="*/ 1539 w 2605"/>
                  <a:gd name="T57" fmla="*/ 669 h 1262"/>
                  <a:gd name="T58" fmla="*/ 1504 w 2605"/>
                  <a:gd name="T59" fmla="*/ 669 h 1262"/>
                  <a:gd name="T60" fmla="*/ 1482 w 2605"/>
                  <a:gd name="T61" fmla="*/ 9 h 1262"/>
                  <a:gd name="T62" fmla="*/ 1482 w 2605"/>
                  <a:gd name="T63" fmla="*/ 9 h 1262"/>
                  <a:gd name="T64" fmla="*/ 1442 w 2605"/>
                  <a:gd name="T65" fmla="*/ 0 h 1262"/>
                  <a:gd name="T66" fmla="*/ 1402 w 2605"/>
                  <a:gd name="T67" fmla="*/ 9 h 1262"/>
                  <a:gd name="T68" fmla="*/ 1402 w 2605"/>
                  <a:gd name="T69" fmla="*/ 9 h 1262"/>
                  <a:gd name="T70" fmla="*/ 1369 w 2605"/>
                  <a:gd name="T71" fmla="*/ 662 h 1262"/>
                  <a:gd name="T72" fmla="*/ 1346 w 2605"/>
                  <a:gd name="T73" fmla="*/ 662 h 1262"/>
                  <a:gd name="T74" fmla="*/ 1346 w 2605"/>
                  <a:gd name="T75" fmla="*/ 620 h 1262"/>
                  <a:gd name="T76" fmla="*/ 1342 w 2605"/>
                  <a:gd name="T77" fmla="*/ 620 h 1262"/>
                  <a:gd name="T78" fmla="*/ 1342 w 2605"/>
                  <a:gd name="T79" fmla="*/ 620 h 1262"/>
                  <a:gd name="T80" fmla="*/ 1315 w 2605"/>
                  <a:gd name="T81" fmla="*/ 620 h 1262"/>
                  <a:gd name="T82" fmla="*/ 1313 w 2605"/>
                  <a:gd name="T83" fmla="*/ 620 h 1262"/>
                  <a:gd name="T84" fmla="*/ 1122 w 2605"/>
                  <a:gd name="T85" fmla="*/ 620 h 1262"/>
                  <a:gd name="T86" fmla="*/ 1122 w 2605"/>
                  <a:gd name="T87" fmla="*/ 1214 h 1262"/>
                  <a:gd name="T88" fmla="*/ 1122 w 2605"/>
                  <a:gd name="T89" fmla="*/ 1214 h 1262"/>
                  <a:gd name="T90" fmla="*/ 1122 w 2605"/>
                  <a:gd name="T91" fmla="*/ 686 h 1262"/>
                  <a:gd name="T92" fmla="*/ 814 w 2605"/>
                  <a:gd name="T93" fmla="*/ 686 h 1262"/>
                  <a:gd name="T94" fmla="*/ 814 w 2605"/>
                  <a:gd name="T95" fmla="*/ 881 h 1262"/>
                  <a:gd name="T96" fmla="*/ 454 w 2605"/>
                  <a:gd name="T97" fmla="*/ 881 h 1262"/>
                  <a:gd name="T98" fmla="*/ 454 w 2605"/>
                  <a:gd name="T99" fmla="*/ 979 h 1262"/>
                  <a:gd name="T100" fmla="*/ 142 w 2605"/>
                  <a:gd name="T101" fmla="*/ 979 h 1262"/>
                  <a:gd name="T102" fmla="*/ 142 w 2605"/>
                  <a:gd name="T103" fmla="*/ 1214 h 1262"/>
                  <a:gd name="T104" fmla="*/ 0 w 2605"/>
                  <a:gd name="T105" fmla="*/ 1214 h 1262"/>
                  <a:gd name="T106" fmla="*/ 0 w 2605"/>
                  <a:gd name="T107" fmla="*/ 1262 h 1262"/>
                  <a:gd name="T108" fmla="*/ 2605 w 2605"/>
                  <a:gd name="T109" fmla="*/ 1262 h 1262"/>
                  <a:gd name="T110" fmla="*/ 2605 w 2605"/>
                  <a:gd name="T111" fmla="*/ 1210 h 1262"/>
                  <a:gd name="T112" fmla="*/ 2413 w 2605"/>
                  <a:gd name="T113" fmla="*/ 1210 h 1262"/>
                  <a:gd name="T114" fmla="*/ 1120 w 2605"/>
                  <a:gd name="T115" fmla="*/ 1214 h 1262"/>
                  <a:gd name="T116" fmla="*/ 817 w 2605"/>
                  <a:gd name="T117" fmla="*/ 1214 h 1262"/>
                  <a:gd name="T118" fmla="*/ 817 w 2605"/>
                  <a:gd name="T119" fmla="*/ 688 h 1262"/>
                  <a:gd name="T120" fmla="*/ 1120 w 2605"/>
                  <a:gd name="T121" fmla="*/ 688 h 1262"/>
                  <a:gd name="T122" fmla="*/ 1120 w 2605"/>
                  <a:gd name="T123" fmla="*/ 1214 h 1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605" h="1262">
                    <a:moveTo>
                      <a:pt x="2413" y="1210"/>
                    </a:moveTo>
                    <a:cubicBezTo>
                      <a:pt x="2413" y="1020"/>
                      <a:pt x="2413" y="1020"/>
                      <a:pt x="2413" y="1020"/>
                    </a:cubicBezTo>
                    <a:cubicBezTo>
                      <a:pt x="2413" y="1020"/>
                      <a:pt x="2413" y="1020"/>
                      <a:pt x="2413" y="1020"/>
                    </a:cubicBezTo>
                    <a:cubicBezTo>
                      <a:pt x="2413" y="908"/>
                      <a:pt x="2413" y="908"/>
                      <a:pt x="2413" y="908"/>
                    </a:cubicBezTo>
                    <a:cubicBezTo>
                      <a:pt x="2234" y="1020"/>
                      <a:pt x="2234" y="1020"/>
                      <a:pt x="2234" y="1020"/>
                    </a:cubicBezTo>
                    <a:cubicBezTo>
                      <a:pt x="2234" y="908"/>
                      <a:pt x="2234" y="908"/>
                      <a:pt x="2234" y="908"/>
                    </a:cubicBezTo>
                    <a:cubicBezTo>
                      <a:pt x="2056" y="1020"/>
                      <a:pt x="2056" y="1020"/>
                      <a:pt x="2056" y="1020"/>
                    </a:cubicBezTo>
                    <a:cubicBezTo>
                      <a:pt x="2056" y="908"/>
                      <a:pt x="2056" y="908"/>
                      <a:pt x="2056" y="908"/>
                    </a:cubicBezTo>
                    <a:cubicBezTo>
                      <a:pt x="1877" y="1020"/>
                      <a:pt x="1877" y="1020"/>
                      <a:pt x="1877" y="1020"/>
                    </a:cubicBezTo>
                    <a:cubicBezTo>
                      <a:pt x="1877" y="1020"/>
                      <a:pt x="1877" y="1020"/>
                      <a:pt x="1877" y="1020"/>
                    </a:cubicBezTo>
                    <a:cubicBezTo>
                      <a:pt x="1877" y="799"/>
                      <a:pt x="1877" y="799"/>
                      <a:pt x="1877" y="799"/>
                    </a:cubicBezTo>
                    <a:cubicBezTo>
                      <a:pt x="1854" y="799"/>
                      <a:pt x="1854" y="799"/>
                      <a:pt x="1854" y="799"/>
                    </a:cubicBezTo>
                    <a:cubicBezTo>
                      <a:pt x="1838" y="312"/>
                      <a:pt x="1838" y="312"/>
                      <a:pt x="1838" y="312"/>
                    </a:cubicBezTo>
                    <a:cubicBezTo>
                      <a:pt x="1838" y="312"/>
                      <a:pt x="1838" y="312"/>
                      <a:pt x="1838" y="312"/>
                    </a:cubicBezTo>
                    <a:cubicBezTo>
                      <a:pt x="1838" y="309"/>
                      <a:pt x="1826" y="305"/>
                      <a:pt x="1808" y="305"/>
                    </a:cubicBezTo>
                    <a:cubicBezTo>
                      <a:pt x="1791" y="305"/>
                      <a:pt x="1779" y="309"/>
                      <a:pt x="1779" y="312"/>
                    </a:cubicBezTo>
                    <a:cubicBezTo>
                      <a:pt x="1779" y="312"/>
                      <a:pt x="1779" y="312"/>
                      <a:pt x="1779" y="312"/>
                    </a:cubicBezTo>
                    <a:cubicBezTo>
                      <a:pt x="1754" y="799"/>
                      <a:pt x="1754" y="799"/>
                      <a:pt x="1754" y="799"/>
                    </a:cubicBezTo>
                    <a:cubicBezTo>
                      <a:pt x="1730" y="799"/>
                      <a:pt x="1730" y="799"/>
                      <a:pt x="1730" y="799"/>
                    </a:cubicBezTo>
                    <a:cubicBezTo>
                      <a:pt x="1730" y="743"/>
                      <a:pt x="1730" y="743"/>
                      <a:pt x="1730" y="743"/>
                    </a:cubicBezTo>
                    <a:cubicBezTo>
                      <a:pt x="1693" y="743"/>
                      <a:pt x="1693" y="743"/>
                      <a:pt x="1693" y="743"/>
                    </a:cubicBezTo>
                    <a:cubicBezTo>
                      <a:pt x="1675" y="183"/>
                      <a:pt x="1675" y="183"/>
                      <a:pt x="1675" y="183"/>
                    </a:cubicBezTo>
                    <a:cubicBezTo>
                      <a:pt x="1675" y="183"/>
                      <a:pt x="1675" y="183"/>
                      <a:pt x="1675" y="183"/>
                    </a:cubicBezTo>
                    <a:cubicBezTo>
                      <a:pt x="1675" y="180"/>
                      <a:pt x="1660" y="176"/>
                      <a:pt x="1640" y="176"/>
                    </a:cubicBezTo>
                    <a:cubicBezTo>
                      <a:pt x="1619" y="176"/>
                      <a:pt x="1605" y="180"/>
                      <a:pt x="1605" y="183"/>
                    </a:cubicBezTo>
                    <a:cubicBezTo>
                      <a:pt x="1605" y="183"/>
                      <a:pt x="1605" y="183"/>
                      <a:pt x="1605" y="183"/>
                    </a:cubicBezTo>
                    <a:cubicBezTo>
                      <a:pt x="1576" y="743"/>
                      <a:pt x="1576" y="743"/>
                      <a:pt x="1576" y="743"/>
                    </a:cubicBezTo>
                    <a:cubicBezTo>
                      <a:pt x="1539" y="743"/>
                      <a:pt x="1539" y="743"/>
                      <a:pt x="1539" y="743"/>
                    </a:cubicBezTo>
                    <a:cubicBezTo>
                      <a:pt x="1539" y="669"/>
                      <a:pt x="1539" y="669"/>
                      <a:pt x="1539" y="669"/>
                    </a:cubicBezTo>
                    <a:cubicBezTo>
                      <a:pt x="1504" y="669"/>
                      <a:pt x="1504" y="669"/>
                      <a:pt x="1504" y="669"/>
                    </a:cubicBezTo>
                    <a:cubicBezTo>
                      <a:pt x="1482" y="9"/>
                      <a:pt x="1482" y="9"/>
                      <a:pt x="1482" y="9"/>
                    </a:cubicBezTo>
                    <a:cubicBezTo>
                      <a:pt x="1482" y="9"/>
                      <a:pt x="1482" y="9"/>
                      <a:pt x="1482" y="9"/>
                    </a:cubicBezTo>
                    <a:cubicBezTo>
                      <a:pt x="1482" y="5"/>
                      <a:pt x="1466" y="0"/>
                      <a:pt x="1442" y="0"/>
                    </a:cubicBezTo>
                    <a:cubicBezTo>
                      <a:pt x="1419" y="0"/>
                      <a:pt x="1402" y="5"/>
                      <a:pt x="1402" y="9"/>
                    </a:cubicBezTo>
                    <a:cubicBezTo>
                      <a:pt x="1402" y="9"/>
                      <a:pt x="1402" y="9"/>
                      <a:pt x="1402" y="9"/>
                    </a:cubicBezTo>
                    <a:cubicBezTo>
                      <a:pt x="1369" y="662"/>
                      <a:pt x="1369" y="662"/>
                      <a:pt x="1369" y="662"/>
                    </a:cubicBezTo>
                    <a:cubicBezTo>
                      <a:pt x="1346" y="662"/>
                      <a:pt x="1346" y="662"/>
                      <a:pt x="1346" y="662"/>
                    </a:cubicBezTo>
                    <a:cubicBezTo>
                      <a:pt x="1346" y="620"/>
                      <a:pt x="1346" y="620"/>
                      <a:pt x="1346" y="620"/>
                    </a:cubicBezTo>
                    <a:cubicBezTo>
                      <a:pt x="1342" y="620"/>
                      <a:pt x="1342" y="620"/>
                      <a:pt x="1342" y="620"/>
                    </a:cubicBezTo>
                    <a:cubicBezTo>
                      <a:pt x="1342" y="620"/>
                      <a:pt x="1342" y="620"/>
                      <a:pt x="1342" y="620"/>
                    </a:cubicBezTo>
                    <a:cubicBezTo>
                      <a:pt x="1315" y="620"/>
                      <a:pt x="1315" y="620"/>
                      <a:pt x="1315" y="620"/>
                    </a:cubicBezTo>
                    <a:cubicBezTo>
                      <a:pt x="1313" y="620"/>
                      <a:pt x="1313" y="620"/>
                      <a:pt x="1313" y="620"/>
                    </a:cubicBezTo>
                    <a:cubicBezTo>
                      <a:pt x="1122" y="620"/>
                      <a:pt x="1122" y="620"/>
                      <a:pt x="1122" y="620"/>
                    </a:cubicBezTo>
                    <a:cubicBezTo>
                      <a:pt x="1122" y="1214"/>
                      <a:pt x="1122" y="1214"/>
                      <a:pt x="1122" y="1214"/>
                    </a:cubicBezTo>
                    <a:cubicBezTo>
                      <a:pt x="1122" y="1214"/>
                      <a:pt x="1122" y="1214"/>
                      <a:pt x="1122" y="1214"/>
                    </a:cubicBezTo>
                    <a:cubicBezTo>
                      <a:pt x="1122" y="686"/>
                      <a:pt x="1122" y="686"/>
                      <a:pt x="1122" y="686"/>
                    </a:cubicBezTo>
                    <a:cubicBezTo>
                      <a:pt x="814" y="686"/>
                      <a:pt x="814" y="686"/>
                      <a:pt x="814" y="686"/>
                    </a:cubicBezTo>
                    <a:cubicBezTo>
                      <a:pt x="814" y="881"/>
                      <a:pt x="814" y="881"/>
                      <a:pt x="814" y="881"/>
                    </a:cubicBezTo>
                    <a:cubicBezTo>
                      <a:pt x="454" y="881"/>
                      <a:pt x="454" y="881"/>
                      <a:pt x="454" y="881"/>
                    </a:cubicBezTo>
                    <a:cubicBezTo>
                      <a:pt x="454" y="979"/>
                      <a:pt x="454" y="979"/>
                      <a:pt x="454" y="979"/>
                    </a:cubicBezTo>
                    <a:cubicBezTo>
                      <a:pt x="142" y="979"/>
                      <a:pt x="142" y="979"/>
                      <a:pt x="142" y="979"/>
                    </a:cubicBezTo>
                    <a:cubicBezTo>
                      <a:pt x="142" y="1214"/>
                      <a:pt x="142" y="1214"/>
                      <a:pt x="142" y="1214"/>
                    </a:cubicBezTo>
                    <a:cubicBezTo>
                      <a:pt x="0" y="1214"/>
                      <a:pt x="0" y="1214"/>
                      <a:pt x="0" y="1214"/>
                    </a:cubicBezTo>
                    <a:cubicBezTo>
                      <a:pt x="0" y="1262"/>
                      <a:pt x="0" y="1262"/>
                      <a:pt x="0" y="1262"/>
                    </a:cubicBezTo>
                    <a:cubicBezTo>
                      <a:pt x="2605" y="1262"/>
                      <a:pt x="2605" y="1262"/>
                      <a:pt x="2605" y="1262"/>
                    </a:cubicBezTo>
                    <a:cubicBezTo>
                      <a:pt x="2605" y="1210"/>
                      <a:pt x="2605" y="1210"/>
                      <a:pt x="2605" y="1210"/>
                    </a:cubicBezTo>
                    <a:lnTo>
                      <a:pt x="2413" y="1210"/>
                    </a:lnTo>
                    <a:close/>
                    <a:moveTo>
                      <a:pt x="1120" y="1214"/>
                    </a:moveTo>
                    <a:cubicBezTo>
                      <a:pt x="817" y="1214"/>
                      <a:pt x="817" y="1214"/>
                      <a:pt x="817" y="1214"/>
                    </a:cubicBezTo>
                    <a:cubicBezTo>
                      <a:pt x="817" y="688"/>
                      <a:pt x="817" y="688"/>
                      <a:pt x="817" y="688"/>
                    </a:cubicBezTo>
                    <a:cubicBezTo>
                      <a:pt x="1120" y="688"/>
                      <a:pt x="1120" y="688"/>
                      <a:pt x="1120" y="688"/>
                    </a:cubicBezTo>
                    <a:lnTo>
                      <a:pt x="1120" y="1214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44" name="Rectangle 151"/>
              <p:cNvSpPr>
                <a:spLocks noChangeArrowheads="1"/>
              </p:cNvSpPr>
              <p:nvPr/>
            </p:nvSpPr>
            <p:spPr bwMode="auto">
              <a:xfrm>
                <a:off x="-2911475" y="8607425"/>
                <a:ext cx="47625" cy="7778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45" name="Rectangle 152"/>
              <p:cNvSpPr>
                <a:spLocks noChangeArrowheads="1"/>
              </p:cNvSpPr>
              <p:nvPr/>
            </p:nvSpPr>
            <p:spPr bwMode="auto">
              <a:xfrm>
                <a:off x="-2832100" y="8607425"/>
                <a:ext cx="49213" cy="7778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46" name="Rectangle 153"/>
              <p:cNvSpPr>
                <a:spLocks noChangeArrowheads="1"/>
              </p:cNvSpPr>
              <p:nvPr/>
            </p:nvSpPr>
            <p:spPr bwMode="auto">
              <a:xfrm>
                <a:off x="-2751138" y="8607425"/>
                <a:ext cx="49213" cy="7778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47" name="Rectangle 154"/>
              <p:cNvSpPr>
                <a:spLocks noChangeArrowheads="1"/>
              </p:cNvSpPr>
              <p:nvPr/>
            </p:nvSpPr>
            <p:spPr bwMode="auto">
              <a:xfrm>
                <a:off x="-2670175" y="8607425"/>
                <a:ext cx="47625" cy="7778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48" name="Rectangle 155"/>
              <p:cNvSpPr>
                <a:spLocks noChangeArrowheads="1"/>
              </p:cNvSpPr>
              <p:nvPr/>
            </p:nvSpPr>
            <p:spPr bwMode="auto">
              <a:xfrm>
                <a:off x="-2590800" y="8607425"/>
                <a:ext cx="47625" cy="7778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49" name="Rectangle 156"/>
              <p:cNvSpPr>
                <a:spLocks noChangeArrowheads="1"/>
              </p:cNvSpPr>
              <p:nvPr/>
            </p:nvSpPr>
            <p:spPr bwMode="auto">
              <a:xfrm>
                <a:off x="-2509838" y="8607425"/>
                <a:ext cx="47625" cy="7778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50" name="Rectangle 157"/>
              <p:cNvSpPr>
                <a:spLocks noChangeArrowheads="1"/>
              </p:cNvSpPr>
              <p:nvPr/>
            </p:nvSpPr>
            <p:spPr bwMode="auto">
              <a:xfrm>
                <a:off x="-2428875" y="8607425"/>
                <a:ext cx="47625" cy="7778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51" name="Rectangle 158"/>
              <p:cNvSpPr>
                <a:spLocks noChangeArrowheads="1"/>
              </p:cNvSpPr>
              <p:nvPr/>
            </p:nvSpPr>
            <p:spPr bwMode="auto">
              <a:xfrm>
                <a:off x="-2349500" y="8607425"/>
                <a:ext cx="49213" cy="7778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52" name="Rectangle 159"/>
              <p:cNvSpPr>
                <a:spLocks noChangeArrowheads="1"/>
              </p:cNvSpPr>
              <p:nvPr/>
            </p:nvSpPr>
            <p:spPr bwMode="auto">
              <a:xfrm>
                <a:off x="-2270125" y="8607425"/>
                <a:ext cx="49213" cy="7778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53" name="Rectangle 160"/>
              <p:cNvSpPr>
                <a:spLocks noChangeArrowheads="1"/>
              </p:cNvSpPr>
              <p:nvPr/>
            </p:nvSpPr>
            <p:spPr bwMode="auto">
              <a:xfrm>
                <a:off x="-2189163" y="8607425"/>
                <a:ext cx="49213" cy="7778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54" name="Rectangle 161"/>
              <p:cNvSpPr>
                <a:spLocks noChangeArrowheads="1"/>
              </p:cNvSpPr>
              <p:nvPr/>
            </p:nvSpPr>
            <p:spPr bwMode="auto">
              <a:xfrm>
                <a:off x="-2108200" y="8607425"/>
                <a:ext cx="47625" cy="7778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55" name="Rectangle 162"/>
              <p:cNvSpPr>
                <a:spLocks noChangeArrowheads="1"/>
              </p:cNvSpPr>
              <p:nvPr/>
            </p:nvSpPr>
            <p:spPr bwMode="auto">
              <a:xfrm>
                <a:off x="-2055813" y="8728075"/>
                <a:ext cx="28575" cy="555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56" name="Rectangle 163"/>
              <p:cNvSpPr>
                <a:spLocks noChangeArrowheads="1"/>
              </p:cNvSpPr>
              <p:nvPr/>
            </p:nvSpPr>
            <p:spPr bwMode="auto">
              <a:xfrm>
                <a:off x="-2112963" y="8728075"/>
                <a:ext cx="28575" cy="555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57" name="Rectangle 164"/>
              <p:cNvSpPr>
                <a:spLocks noChangeArrowheads="1"/>
              </p:cNvSpPr>
              <p:nvPr/>
            </p:nvSpPr>
            <p:spPr bwMode="auto">
              <a:xfrm>
                <a:off x="-2166938" y="8728075"/>
                <a:ext cx="28575" cy="555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58" name="Rectangle 165"/>
              <p:cNvSpPr>
                <a:spLocks noChangeArrowheads="1"/>
              </p:cNvSpPr>
              <p:nvPr/>
            </p:nvSpPr>
            <p:spPr bwMode="auto">
              <a:xfrm>
                <a:off x="-2224088" y="8728075"/>
                <a:ext cx="30163" cy="555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59" name="Rectangle 166"/>
              <p:cNvSpPr>
                <a:spLocks noChangeArrowheads="1"/>
              </p:cNvSpPr>
              <p:nvPr/>
            </p:nvSpPr>
            <p:spPr bwMode="auto">
              <a:xfrm>
                <a:off x="-2278063" y="8728075"/>
                <a:ext cx="28575" cy="555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60" name="Rectangle 167"/>
              <p:cNvSpPr>
                <a:spLocks noChangeArrowheads="1"/>
              </p:cNvSpPr>
              <p:nvPr/>
            </p:nvSpPr>
            <p:spPr bwMode="auto">
              <a:xfrm>
                <a:off x="-2333625" y="8728075"/>
                <a:ext cx="28575" cy="555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61" name="Rectangle 168"/>
              <p:cNvSpPr>
                <a:spLocks noChangeArrowheads="1"/>
              </p:cNvSpPr>
              <p:nvPr/>
            </p:nvSpPr>
            <p:spPr bwMode="auto">
              <a:xfrm>
                <a:off x="-2389188" y="8728075"/>
                <a:ext cx="28575" cy="555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62" name="Rectangle 169"/>
              <p:cNvSpPr>
                <a:spLocks noChangeArrowheads="1"/>
              </p:cNvSpPr>
              <p:nvPr/>
            </p:nvSpPr>
            <p:spPr bwMode="auto">
              <a:xfrm>
                <a:off x="-2444750" y="8728075"/>
                <a:ext cx="28575" cy="555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63" name="Rectangle 170"/>
              <p:cNvSpPr>
                <a:spLocks noChangeArrowheads="1"/>
              </p:cNvSpPr>
              <p:nvPr/>
            </p:nvSpPr>
            <p:spPr bwMode="auto">
              <a:xfrm>
                <a:off x="-2500313" y="8728075"/>
                <a:ext cx="30163" cy="555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64" name="Rectangle 171"/>
              <p:cNvSpPr>
                <a:spLocks noChangeArrowheads="1"/>
              </p:cNvSpPr>
              <p:nvPr/>
            </p:nvSpPr>
            <p:spPr bwMode="auto">
              <a:xfrm>
                <a:off x="-2555875" y="8728075"/>
                <a:ext cx="28575" cy="555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65" name="Rectangle 172"/>
              <p:cNvSpPr>
                <a:spLocks noChangeArrowheads="1"/>
              </p:cNvSpPr>
              <p:nvPr/>
            </p:nvSpPr>
            <p:spPr bwMode="auto">
              <a:xfrm>
                <a:off x="-2611438" y="8728075"/>
                <a:ext cx="28575" cy="555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66" name="Rectangle 173"/>
              <p:cNvSpPr>
                <a:spLocks noChangeArrowheads="1"/>
              </p:cNvSpPr>
              <p:nvPr/>
            </p:nvSpPr>
            <p:spPr bwMode="auto">
              <a:xfrm>
                <a:off x="-2667000" y="8728075"/>
                <a:ext cx="28575" cy="555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67" name="Rectangle 174"/>
              <p:cNvSpPr>
                <a:spLocks noChangeArrowheads="1"/>
              </p:cNvSpPr>
              <p:nvPr/>
            </p:nvSpPr>
            <p:spPr bwMode="auto">
              <a:xfrm>
                <a:off x="-2722563" y="8728075"/>
                <a:ext cx="28575" cy="555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68" name="Rectangle 175"/>
              <p:cNvSpPr>
                <a:spLocks noChangeArrowheads="1"/>
              </p:cNvSpPr>
              <p:nvPr/>
            </p:nvSpPr>
            <p:spPr bwMode="auto">
              <a:xfrm>
                <a:off x="-2776538" y="8728075"/>
                <a:ext cx="28575" cy="555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69" name="Rectangle 176"/>
              <p:cNvSpPr>
                <a:spLocks noChangeArrowheads="1"/>
              </p:cNvSpPr>
              <p:nvPr/>
            </p:nvSpPr>
            <p:spPr bwMode="auto">
              <a:xfrm>
                <a:off x="-2833688" y="8728075"/>
                <a:ext cx="28575" cy="555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70" name="Rectangle 177"/>
              <p:cNvSpPr>
                <a:spLocks noChangeArrowheads="1"/>
              </p:cNvSpPr>
              <p:nvPr/>
            </p:nvSpPr>
            <p:spPr bwMode="auto">
              <a:xfrm>
                <a:off x="-2887663" y="8728075"/>
                <a:ext cx="28575" cy="555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71" name="Rectangle 178"/>
              <p:cNvSpPr>
                <a:spLocks noChangeArrowheads="1"/>
              </p:cNvSpPr>
              <p:nvPr/>
            </p:nvSpPr>
            <p:spPr bwMode="auto">
              <a:xfrm>
                <a:off x="-2944813" y="8728075"/>
                <a:ext cx="30163" cy="555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72" name="Rectangle 179"/>
              <p:cNvSpPr>
                <a:spLocks noChangeArrowheads="1"/>
              </p:cNvSpPr>
              <p:nvPr/>
            </p:nvSpPr>
            <p:spPr bwMode="auto">
              <a:xfrm>
                <a:off x="-2905125" y="8831263"/>
                <a:ext cx="23813" cy="508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73" name="Rectangle 180"/>
              <p:cNvSpPr>
                <a:spLocks noChangeArrowheads="1"/>
              </p:cNvSpPr>
              <p:nvPr/>
            </p:nvSpPr>
            <p:spPr bwMode="auto">
              <a:xfrm>
                <a:off x="-2859088" y="8831263"/>
                <a:ext cx="22225" cy="508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74" name="Rectangle 181"/>
              <p:cNvSpPr>
                <a:spLocks noChangeArrowheads="1"/>
              </p:cNvSpPr>
              <p:nvPr/>
            </p:nvSpPr>
            <p:spPr bwMode="auto">
              <a:xfrm>
                <a:off x="-2814638" y="8831263"/>
                <a:ext cx="23813" cy="508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75" name="Rectangle 182"/>
              <p:cNvSpPr>
                <a:spLocks noChangeArrowheads="1"/>
              </p:cNvSpPr>
              <p:nvPr/>
            </p:nvSpPr>
            <p:spPr bwMode="auto">
              <a:xfrm>
                <a:off x="-2768600" y="8831263"/>
                <a:ext cx="23813" cy="508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76" name="Rectangle 183"/>
              <p:cNvSpPr>
                <a:spLocks noChangeArrowheads="1"/>
              </p:cNvSpPr>
              <p:nvPr/>
            </p:nvSpPr>
            <p:spPr bwMode="auto">
              <a:xfrm>
                <a:off x="-2724150" y="8831263"/>
                <a:ext cx="25400" cy="508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77" name="Rectangle 184"/>
              <p:cNvSpPr>
                <a:spLocks noChangeArrowheads="1"/>
              </p:cNvSpPr>
              <p:nvPr/>
            </p:nvSpPr>
            <p:spPr bwMode="auto">
              <a:xfrm>
                <a:off x="-2679700" y="8831263"/>
                <a:ext cx="25400" cy="508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78" name="Rectangle 185"/>
              <p:cNvSpPr>
                <a:spLocks noChangeArrowheads="1"/>
              </p:cNvSpPr>
              <p:nvPr/>
            </p:nvSpPr>
            <p:spPr bwMode="auto">
              <a:xfrm>
                <a:off x="-2633663" y="8831263"/>
                <a:ext cx="23813" cy="508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79" name="Rectangle 186"/>
              <p:cNvSpPr>
                <a:spLocks noChangeArrowheads="1"/>
              </p:cNvSpPr>
              <p:nvPr/>
            </p:nvSpPr>
            <p:spPr bwMode="auto">
              <a:xfrm>
                <a:off x="-2589213" y="8831263"/>
                <a:ext cx="25400" cy="508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80" name="Rectangle 187"/>
              <p:cNvSpPr>
                <a:spLocks noChangeArrowheads="1"/>
              </p:cNvSpPr>
              <p:nvPr/>
            </p:nvSpPr>
            <p:spPr bwMode="auto">
              <a:xfrm>
                <a:off x="-2543175" y="8831263"/>
                <a:ext cx="23813" cy="508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81" name="Rectangle 188"/>
              <p:cNvSpPr>
                <a:spLocks noChangeArrowheads="1"/>
              </p:cNvSpPr>
              <p:nvPr/>
            </p:nvSpPr>
            <p:spPr bwMode="auto">
              <a:xfrm>
                <a:off x="-2498725" y="8831263"/>
                <a:ext cx="25400" cy="508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82" name="Rectangle 189"/>
              <p:cNvSpPr>
                <a:spLocks noChangeArrowheads="1"/>
              </p:cNvSpPr>
              <p:nvPr/>
            </p:nvSpPr>
            <p:spPr bwMode="auto">
              <a:xfrm>
                <a:off x="-2452688" y="8831263"/>
                <a:ext cx="23813" cy="508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83" name="Rectangle 190"/>
              <p:cNvSpPr>
                <a:spLocks noChangeArrowheads="1"/>
              </p:cNvSpPr>
              <p:nvPr/>
            </p:nvSpPr>
            <p:spPr bwMode="auto">
              <a:xfrm>
                <a:off x="-2408238" y="8831263"/>
                <a:ext cx="25400" cy="508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84" name="Rectangle 191"/>
              <p:cNvSpPr>
                <a:spLocks noChangeArrowheads="1"/>
              </p:cNvSpPr>
              <p:nvPr/>
            </p:nvSpPr>
            <p:spPr bwMode="auto">
              <a:xfrm>
                <a:off x="-2362200" y="8831263"/>
                <a:ext cx="23813" cy="508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85" name="Rectangle 192"/>
              <p:cNvSpPr>
                <a:spLocks noChangeArrowheads="1"/>
              </p:cNvSpPr>
              <p:nvPr/>
            </p:nvSpPr>
            <p:spPr bwMode="auto">
              <a:xfrm>
                <a:off x="-2316163" y="8831263"/>
                <a:ext cx="23813" cy="508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86" name="Rectangle 193"/>
              <p:cNvSpPr>
                <a:spLocks noChangeArrowheads="1"/>
              </p:cNvSpPr>
              <p:nvPr/>
            </p:nvSpPr>
            <p:spPr bwMode="auto">
              <a:xfrm>
                <a:off x="-2271713" y="8831263"/>
                <a:ext cx="23813" cy="508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87" name="Rectangle 194"/>
              <p:cNvSpPr>
                <a:spLocks noChangeArrowheads="1"/>
              </p:cNvSpPr>
              <p:nvPr/>
            </p:nvSpPr>
            <p:spPr bwMode="auto">
              <a:xfrm>
                <a:off x="-2225675" y="8831263"/>
                <a:ext cx="22225" cy="508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88" name="Rectangle 195"/>
              <p:cNvSpPr>
                <a:spLocks noChangeArrowheads="1"/>
              </p:cNvSpPr>
              <p:nvPr/>
            </p:nvSpPr>
            <p:spPr bwMode="auto">
              <a:xfrm>
                <a:off x="-2181225" y="8831263"/>
                <a:ext cx="23813" cy="508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89" name="Rectangle 196"/>
              <p:cNvSpPr>
                <a:spLocks noChangeArrowheads="1"/>
              </p:cNvSpPr>
              <p:nvPr/>
            </p:nvSpPr>
            <p:spPr bwMode="auto">
              <a:xfrm>
                <a:off x="-2135188" y="8831263"/>
                <a:ext cx="22225" cy="508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90" name="Rectangle 197"/>
              <p:cNvSpPr>
                <a:spLocks noChangeArrowheads="1"/>
              </p:cNvSpPr>
              <p:nvPr/>
            </p:nvSpPr>
            <p:spPr bwMode="auto">
              <a:xfrm>
                <a:off x="-2090738" y="8831263"/>
                <a:ext cx="23813" cy="508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91" name="Rectangle 198"/>
              <p:cNvSpPr>
                <a:spLocks noChangeArrowheads="1"/>
              </p:cNvSpPr>
              <p:nvPr/>
            </p:nvSpPr>
            <p:spPr bwMode="auto">
              <a:xfrm>
                <a:off x="-2009775" y="8147050"/>
                <a:ext cx="438150" cy="76993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92" name="Rectangle 199"/>
              <p:cNvSpPr>
                <a:spLocks noChangeArrowheads="1"/>
              </p:cNvSpPr>
              <p:nvPr/>
            </p:nvSpPr>
            <p:spPr bwMode="auto">
              <a:xfrm>
                <a:off x="-1984375" y="8166100"/>
                <a:ext cx="14288" cy="75247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93" name="Freeform 200"/>
              <p:cNvSpPr>
                <a:spLocks noEditPoints="1"/>
              </p:cNvSpPr>
              <p:nvPr/>
            </p:nvSpPr>
            <p:spPr bwMode="auto">
              <a:xfrm>
                <a:off x="-1984375" y="8164513"/>
                <a:ext cx="14288" cy="754063"/>
              </a:xfrm>
              <a:custGeom>
                <a:avLst/>
                <a:gdLst>
                  <a:gd name="T0" fmla="*/ 9 w 9"/>
                  <a:gd name="T1" fmla="*/ 475 h 475"/>
                  <a:gd name="T2" fmla="*/ 0 w 9"/>
                  <a:gd name="T3" fmla="*/ 475 h 475"/>
                  <a:gd name="T4" fmla="*/ 0 w 9"/>
                  <a:gd name="T5" fmla="*/ 0 h 475"/>
                  <a:gd name="T6" fmla="*/ 9 w 9"/>
                  <a:gd name="T7" fmla="*/ 0 h 475"/>
                  <a:gd name="T8" fmla="*/ 9 w 9"/>
                  <a:gd name="T9" fmla="*/ 475 h 475"/>
                  <a:gd name="T10" fmla="*/ 1 w 9"/>
                  <a:gd name="T11" fmla="*/ 474 h 475"/>
                  <a:gd name="T12" fmla="*/ 8 w 9"/>
                  <a:gd name="T13" fmla="*/ 474 h 475"/>
                  <a:gd name="T14" fmla="*/ 8 w 9"/>
                  <a:gd name="T15" fmla="*/ 1 h 475"/>
                  <a:gd name="T16" fmla="*/ 1 w 9"/>
                  <a:gd name="T17" fmla="*/ 1 h 475"/>
                  <a:gd name="T18" fmla="*/ 1 w 9"/>
                  <a:gd name="T19" fmla="*/ 474 h 4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475">
                    <a:moveTo>
                      <a:pt x="9" y="475"/>
                    </a:moveTo>
                    <a:lnTo>
                      <a:pt x="0" y="475"/>
                    </a:lnTo>
                    <a:lnTo>
                      <a:pt x="0" y="0"/>
                    </a:lnTo>
                    <a:lnTo>
                      <a:pt x="9" y="0"/>
                    </a:lnTo>
                    <a:lnTo>
                      <a:pt x="9" y="475"/>
                    </a:lnTo>
                    <a:close/>
                    <a:moveTo>
                      <a:pt x="1" y="474"/>
                    </a:moveTo>
                    <a:lnTo>
                      <a:pt x="8" y="474"/>
                    </a:lnTo>
                    <a:lnTo>
                      <a:pt x="8" y="1"/>
                    </a:lnTo>
                    <a:lnTo>
                      <a:pt x="1" y="1"/>
                    </a:lnTo>
                    <a:lnTo>
                      <a:pt x="1" y="47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94" name="Rectangle 201"/>
              <p:cNvSpPr>
                <a:spLocks noChangeArrowheads="1"/>
              </p:cNvSpPr>
              <p:nvPr/>
            </p:nvSpPr>
            <p:spPr bwMode="auto">
              <a:xfrm>
                <a:off x="-1947863" y="8166100"/>
                <a:ext cx="15875" cy="75247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95" name="Freeform 202"/>
              <p:cNvSpPr>
                <a:spLocks noEditPoints="1"/>
              </p:cNvSpPr>
              <p:nvPr/>
            </p:nvSpPr>
            <p:spPr bwMode="auto">
              <a:xfrm>
                <a:off x="-1947863" y="8164513"/>
                <a:ext cx="15875" cy="754063"/>
              </a:xfrm>
              <a:custGeom>
                <a:avLst/>
                <a:gdLst>
                  <a:gd name="T0" fmla="*/ 10 w 10"/>
                  <a:gd name="T1" fmla="*/ 475 h 475"/>
                  <a:gd name="T2" fmla="*/ 0 w 10"/>
                  <a:gd name="T3" fmla="*/ 475 h 475"/>
                  <a:gd name="T4" fmla="*/ 0 w 10"/>
                  <a:gd name="T5" fmla="*/ 0 h 475"/>
                  <a:gd name="T6" fmla="*/ 10 w 10"/>
                  <a:gd name="T7" fmla="*/ 0 h 475"/>
                  <a:gd name="T8" fmla="*/ 10 w 10"/>
                  <a:gd name="T9" fmla="*/ 475 h 475"/>
                  <a:gd name="T10" fmla="*/ 1 w 10"/>
                  <a:gd name="T11" fmla="*/ 474 h 475"/>
                  <a:gd name="T12" fmla="*/ 9 w 10"/>
                  <a:gd name="T13" fmla="*/ 474 h 475"/>
                  <a:gd name="T14" fmla="*/ 9 w 10"/>
                  <a:gd name="T15" fmla="*/ 1 h 475"/>
                  <a:gd name="T16" fmla="*/ 1 w 10"/>
                  <a:gd name="T17" fmla="*/ 1 h 475"/>
                  <a:gd name="T18" fmla="*/ 1 w 10"/>
                  <a:gd name="T19" fmla="*/ 474 h 4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" h="475">
                    <a:moveTo>
                      <a:pt x="10" y="475"/>
                    </a:moveTo>
                    <a:lnTo>
                      <a:pt x="0" y="475"/>
                    </a:lnTo>
                    <a:lnTo>
                      <a:pt x="0" y="0"/>
                    </a:lnTo>
                    <a:lnTo>
                      <a:pt x="10" y="0"/>
                    </a:lnTo>
                    <a:lnTo>
                      <a:pt x="10" y="475"/>
                    </a:lnTo>
                    <a:close/>
                    <a:moveTo>
                      <a:pt x="1" y="474"/>
                    </a:moveTo>
                    <a:lnTo>
                      <a:pt x="9" y="474"/>
                    </a:lnTo>
                    <a:lnTo>
                      <a:pt x="9" y="1"/>
                    </a:lnTo>
                    <a:lnTo>
                      <a:pt x="1" y="1"/>
                    </a:lnTo>
                    <a:lnTo>
                      <a:pt x="1" y="47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96" name="Rectangle 203"/>
              <p:cNvSpPr>
                <a:spLocks noChangeArrowheads="1"/>
              </p:cNvSpPr>
              <p:nvPr/>
            </p:nvSpPr>
            <p:spPr bwMode="auto">
              <a:xfrm>
                <a:off x="-1909763" y="8166100"/>
                <a:ext cx="14288" cy="75247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97" name="Freeform 204"/>
              <p:cNvSpPr>
                <a:spLocks noEditPoints="1"/>
              </p:cNvSpPr>
              <p:nvPr/>
            </p:nvSpPr>
            <p:spPr bwMode="auto">
              <a:xfrm>
                <a:off x="-1911350" y="8164513"/>
                <a:ext cx="15875" cy="754063"/>
              </a:xfrm>
              <a:custGeom>
                <a:avLst/>
                <a:gdLst>
                  <a:gd name="T0" fmla="*/ 10 w 10"/>
                  <a:gd name="T1" fmla="*/ 475 h 475"/>
                  <a:gd name="T2" fmla="*/ 0 w 10"/>
                  <a:gd name="T3" fmla="*/ 475 h 475"/>
                  <a:gd name="T4" fmla="*/ 0 w 10"/>
                  <a:gd name="T5" fmla="*/ 0 h 475"/>
                  <a:gd name="T6" fmla="*/ 10 w 10"/>
                  <a:gd name="T7" fmla="*/ 0 h 475"/>
                  <a:gd name="T8" fmla="*/ 10 w 10"/>
                  <a:gd name="T9" fmla="*/ 475 h 475"/>
                  <a:gd name="T10" fmla="*/ 1 w 10"/>
                  <a:gd name="T11" fmla="*/ 474 h 475"/>
                  <a:gd name="T12" fmla="*/ 9 w 10"/>
                  <a:gd name="T13" fmla="*/ 474 h 475"/>
                  <a:gd name="T14" fmla="*/ 9 w 10"/>
                  <a:gd name="T15" fmla="*/ 1 h 475"/>
                  <a:gd name="T16" fmla="*/ 1 w 10"/>
                  <a:gd name="T17" fmla="*/ 1 h 475"/>
                  <a:gd name="T18" fmla="*/ 1 w 10"/>
                  <a:gd name="T19" fmla="*/ 474 h 4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" h="475">
                    <a:moveTo>
                      <a:pt x="10" y="475"/>
                    </a:moveTo>
                    <a:lnTo>
                      <a:pt x="0" y="475"/>
                    </a:lnTo>
                    <a:lnTo>
                      <a:pt x="0" y="0"/>
                    </a:lnTo>
                    <a:lnTo>
                      <a:pt x="10" y="0"/>
                    </a:lnTo>
                    <a:lnTo>
                      <a:pt x="10" y="475"/>
                    </a:lnTo>
                    <a:close/>
                    <a:moveTo>
                      <a:pt x="1" y="474"/>
                    </a:moveTo>
                    <a:lnTo>
                      <a:pt x="9" y="474"/>
                    </a:lnTo>
                    <a:lnTo>
                      <a:pt x="9" y="1"/>
                    </a:lnTo>
                    <a:lnTo>
                      <a:pt x="1" y="1"/>
                    </a:lnTo>
                    <a:lnTo>
                      <a:pt x="1" y="47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98" name="Rectangle 205"/>
              <p:cNvSpPr>
                <a:spLocks noChangeArrowheads="1"/>
              </p:cNvSpPr>
              <p:nvPr/>
            </p:nvSpPr>
            <p:spPr bwMode="auto">
              <a:xfrm>
                <a:off x="-1871663" y="8166100"/>
                <a:ext cx="12700" cy="75247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299" name="Freeform 206"/>
              <p:cNvSpPr>
                <a:spLocks noEditPoints="1"/>
              </p:cNvSpPr>
              <p:nvPr/>
            </p:nvSpPr>
            <p:spPr bwMode="auto">
              <a:xfrm>
                <a:off x="-1873250" y="8164513"/>
                <a:ext cx="15875" cy="754063"/>
              </a:xfrm>
              <a:custGeom>
                <a:avLst/>
                <a:gdLst>
                  <a:gd name="T0" fmla="*/ 10 w 10"/>
                  <a:gd name="T1" fmla="*/ 475 h 475"/>
                  <a:gd name="T2" fmla="*/ 0 w 10"/>
                  <a:gd name="T3" fmla="*/ 475 h 475"/>
                  <a:gd name="T4" fmla="*/ 0 w 10"/>
                  <a:gd name="T5" fmla="*/ 0 h 475"/>
                  <a:gd name="T6" fmla="*/ 10 w 10"/>
                  <a:gd name="T7" fmla="*/ 0 h 475"/>
                  <a:gd name="T8" fmla="*/ 10 w 10"/>
                  <a:gd name="T9" fmla="*/ 475 h 475"/>
                  <a:gd name="T10" fmla="*/ 1 w 10"/>
                  <a:gd name="T11" fmla="*/ 474 h 475"/>
                  <a:gd name="T12" fmla="*/ 9 w 10"/>
                  <a:gd name="T13" fmla="*/ 474 h 475"/>
                  <a:gd name="T14" fmla="*/ 9 w 10"/>
                  <a:gd name="T15" fmla="*/ 1 h 475"/>
                  <a:gd name="T16" fmla="*/ 1 w 10"/>
                  <a:gd name="T17" fmla="*/ 1 h 475"/>
                  <a:gd name="T18" fmla="*/ 1 w 10"/>
                  <a:gd name="T19" fmla="*/ 474 h 4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" h="475">
                    <a:moveTo>
                      <a:pt x="10" y="475"/>
                    </a:moveTo>
                    <a:lnTo>
                      <a:pt x="0" y="475"/>
                    </a:lnTo>
                    <a:lnTo>
                      <a:pt x="0" y="0"/>
                    </a:lnTo>
                    <a:lnTo>
                      <a:pt x="10" y="0"/>
                    </a:lnTo>
                    <a:lnTo>
                      <a:pt x="10" y="475"/>
                    </a:lnTo>
                    <a:close/>
                    <a:moveTo>
                      <a:pt x="1" y="474"/>
                    </a:moveTo>
                    <a:lnTo>
                      <a:pt x="9" y="474"/>
                    </a:lnTo>
                    <a:lnTo>
                      <a:pt x="9" y="1"/>
                    </a:lnTo>
                    <a:lnTo>
                      <a:pt x="1" y="1"/>
                    </a:lnTo>
                    <a:lnTo>
                      <a:pt x="1" y="47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300" name="Rectangle 207"/>
              <p:cNvSpPr>
                <a:spLocks noChangeArrowheads="1"/>
              </p:cNvSpPr>
              <p:nvPr/>
            </p:nvSpPr>
            <p:spPr bwMode="auto">
              <a:xfrm>
                <a:off x="-1835150" y="8166100"/>
                <a:ext cx="12700" cy="75247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301" name="Freeform 208"/>
              <p:cNvSpPr>
                <a:spLocks noEditPoints="1"/>
              </p:cNvSpPr>
              <p:nvPr/>
            </p:nvSpPr>
            <p:spPr bwMode="auto">
              <a:xfrm>
                <a:off x="-1836738" y="8164513"/>
                <a:ext cx="15875" cy="754063"/>
              </a:xfrm>
              <a:custGeom>
                <a:avLst/>
                <a:gdLst>
                  <a:gd name="T0" fmla="*/ 10 w 10"/>
                  <a:gd name="T1" fmla="*/ 475 h 475"/>
                  <a:gd name="T2" fmla="*/ 0 w 10"/>
                  <a:gd name="T3" fmla="*/ 475 h 475"/>
                  <a:gd name="T4" fmla="*/ 0 w 10"/>
                  <a:gd name="T5" fmla="*/ 0 h 475"/>
                  <a:gd name="T6" fmla="*/ 10 w 10"/>
                  <a:gd name="T7" fmla="*/ 0 h 475"/>
                  <a:gd name="T8" fmla="*/ 10 w 10"/>
                  <a:gd name="T9" fmla="*/ 475 h 475"/>
                  <a:gd name="T10" fmla="*/ 1 w 10"/>
                  <a:gd name="T11" fmla="*/ 474 h 475"/>
                  <a:gd name="T12" fmla="*/ 9 w 10"/>
                  <a:gd name="T13" fmla="*/ 474 h 475"/>
                  <a:gd name="T14" fmla="*/ 9 w 10"/>
                  <a:gd name="T15" fmla="*/ 1 h 475"/>
                  <a:gd name="T16" fmla="*/ 1 w 10"/>
                  <a:gd name="T17" fmla="*/ 1 h 475"/>
                  <a:gd name="T18" fmla="*/ 1 w 10"/>
                  <a:gd name="T19" fmla="*/ 474 h 4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" h="475">
                    <a:moveTo>
                      <a:pt x="10" y="475"/>
                    </a:moveTo>
                    <a:lnTo>
                      <a:pt x="0" y="475"/>
                    </a:lnTo>
                    <a:lnTo>
                      <a:pt x="0" y="0"/>
                    </a:lnTo>
                    <a:lnTo>
                      <a:pt x="10" y="0"/>
                    </a:lnTo>
                    <a:lnTo>
                      <a:pt x="10" y="475"/>
                    </a:lnTo>
                    <a:close/>
                    <a:moveTo>
                      <a:pt x="1" y="474"/>
                    </a:moveTo>
                    <a:lnTo>
                      <a:pt x="9" y="474"/>
                    </a:lnTo>
                    <a:lnTo>
                      <a:pt x="9" y="1"/>
                    </a:lnTo>
                    <a:lnTo>
                      <a:pt x="1" y="1"/>
                    </a:lnTo>
                    <a:lnTo>
                      <a:pt x="1" y="47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302" name="Rectangle 209"/>
              <p:cNvSpPr>
                <a:spLocks noChangeArrowheads="1"/>
              </p:cNvSpPr>
              <p:nvPr/>
            </p:nvSpPr>
            <p:spPr bwMode="auto">
              <a:xfrm>
                <a:off x="-1797050" y="8166100"/>
                <a:ext cx="12700" cy="75247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303" name="Freeform 210"/>
              <p:cNvSpPr>
                <a:spLocks noEditPoints="1"/>
              </p:cNvSpPr>
              <p:nvPr/>
            </p:nvSpPr>
            <p:spPr bwMode="auto">
              <a:xfrm>
                <a:off x="-1798638" y="8164513"/>
                <a:ext cx="15875" cy="754063"/>
              </a:xfrm>
              <a:custGeom>
                <a:avLst/>
                <a:gdLst>
                  <a:gd name="T0" fmla="*/ 10 w 10"/>
                  <a:gd name="T1" fmla="*/ 475 h 475"/>
                  <a:gd name="T2" fmla="*/ 0 w 10"/>
                  <a:gd name="T3" fmla="*/ 475 h 475"/>
                  <a:gd name="T4" fmla="*/ 0 w 10"/>
                  <a:gd name="T5" fmla="*/ 0 h 475"/>
                  <a:gd name="T6" fmla="*/ 10 w 10"/>
                  <a:gd name="T7" fmla="*/ 0 h 475"/>
                  <a:gd name="T8" fmla="*/ 10 w 10"/>
                  <a:gd name="T9" fmla="*/ 475 h 475"/>
                  <a:gd name="T10" fmla="*/ 1 w 10"/>
                  <a:gd name="T11" fmla="*/ 474 h 475"/>
                  <a:gd name="T12" fmla="*/ 9 w 10"/>
                  <a:gd name="T13" fmla="*/ 474 h 475"/>
                  <a:gd name="T14" fmla="*/ 9 w 10"/>
                  <a:gd name="T15" fmla="*/ 1 h 475"/>
                  <a:gd name="T16" fmla="*/ 1 w 10"/>
                  <a:gd name="T17" fmla="*/ 1 h 475"/>
                  <a:gd name="T18" fmla="*/ 1 w 10"/>
                  <a:gd name="T19" fmla="*/ 474 h 4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" h="475">
                    <a:moveTo>
                      <a:pt x="10" y="475"/>
                    </a:moveTo>
                    <a:lnTo>
                      <a:pt x="0" y="475"/>
                    </a:lnTo>
                    <a:lnTo>
                      <a:pt x="0" y="0"/>
                    </a:lnTo>
                    <a:lnTo>
                      <a:pt x="10" y="0"/>
                    </a:lnTo>
                    <a:lnTo>
                      <a:pt x="10" y="475"/>
                    </a:lnTo>
                    <a:close/>
                    <a:moveTo>
                      <a:pt x="1" y="474"/>
                    </a:moveTo>
                    <a:lnTo>
                      <a:pt x="9" y="474"/>
                    </a:lnTo>
                    <a:lnTo>
                      <a:pt x="9" y="1"/>
                    </a:lnTo>
                    <a:lnTo>
                      <a:pt x="1" y="1"/>
                    </a:lnTo>
                    <a:lnTo>
                      <a:pt x="1" y="47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304" name="Rectangle 211"/>
              <p:cNvSpPr>
                <a:spLocks noChangeArrowheads="1"/>
              </p:cNvSpPr>
              <p:nvPr/>
            </p:nvSpPr>
            <p:spPr bwMode="auto">
              <a:xfrm>
                <a:off x="-1762125" y="8166100"/>
                <a:ext cx="14288" cy="75247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305" name="Freeform 212"/>
              <p:cNvSpPr>
                <a:spLocks noEditPoints="1"/>
              </p:cNvSpPr>
              <p:nvPr/>
            </p:nvSpPr>
            <p:spPr bwMode="auto">
              <a:xfrm>
                <a:off x="-1762125" y="8164513"/>
                <a:ext cx="15875" cy="754063"/>
              </a:xfrm>
              <a:custGeom>
                <a:avLst/>
                <a:gdLst>
                  <a:gd name="T0" fmla="*/ 10 w 10"/>
                  <a:gd name="T1" fmla="*/ 475 h 475"/>
                  <a:gd name="T2" fmla="*/ 0 w 10"/>
                  <a:gd name="T3" fmla="*/ 475 h 475"/>
                  <a:gd name="T4" fmla="*/ 0 w 10"/>
                  <a:gd name="T5" fmla="*/ 0 h 475"/>
                  <a:gd name="T6" fmla="*/ 10 w 10"/>
                  <a:gd name="T7" fmla="*/ 0 h 475"/>
                  <a:gd name="T8" fmla="*/ 10 w 10"/>
                  <a:gd name="T9" fmla="*/ 475 h 475"/>
                  <a:gd name="T10" fmla="*/ 1 w 10"/>
                  <a:gd name="T11" fmla="*/ 474 h 475"/>
                  <a:gd name="T12" fmla="*/ 9 w 10"/>
                  <a:gd name="T13" fmla="*/ 474 h 475"/>
                  <a:gd name="T14" fmla="*/ 9 w 10"/>
                  <a:gd name="T15" fmla="*/ 1 h 475"/>
                  <a:gd name="T16" fmla="*/ 1 w 10"/>
                  <a:gd name="T17" fmla="*/ 1 h 475"/>
                  <a:gd name="T18" fmla="*/ 1 w 10"/>
                  <a:gd name="T19" fmla="*/ 474 h 4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" h="475">
                    <a:moveTo>
                      <a:pt x="10" y="475"/>
                    </a:moveTo>
                    <a:lnTo>
                      <a:pt x="0" y="475"/>
                    </a:lnTo>
                    <a:lnTo>
                      <a:pt x="0" y="0"/>
                    </a:lnTo>
                    <a:lnTo>
                      <a:pt x="10" y="0"/>
                    </a:lnTo>
                    <a:lnTo>
                      <a:pt x="10" y="475"/>
                    </a:lnTo>
                    <a:close/>
                    <a:moveTo>
                      <a:pt x="1" y="474"/>
                    </a:moveTo>
                    <a:lnTo>
                      <a:pt x="9" y="474"/>
                    </a:lnTo>
                    <a:lnTo>
                      <a:pt x="9" y="1"/>
                    </a:lnTo>
                    <a:lnTo>
                      <a:pt x="1" y="1"/>
                    </a:lnTo>
                    <a:lnTo>
                      <a:pt x="1" y="47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306" name="Rectangle 213"/>
              <p:cNvSpPr>
                <a:spLocks noChangeArrowheads="1"/>
              </p:cNvSpPr>
              <p:nvPr/>
            </p:nvSpPr>
            <p:spPr bwMode="auto">
              <a:xfrm>
                <a:off x="-1724025" y="8166100"/>
                <a:ext cx="14288" cy="75247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307" name="Freeform 214"/>
              <p:cNvSpPr>
                <a:spLocks noEditPoints="1"/>
              </p:cNvSpPr>
              <p:nvPr/>
            </p:nvSpPr>
            <p:spPr bwMode="auto">
              <a:xfrm>
                <a:off x="-1724025" y="8164513"/>
                <a:ext cx="15875" cy="754063"/>
              </a:xfrm>
              <a:custGeom>
                <a:avLst/>
                <a:gdLst>
                  <a:gd name="T0" fmla="*/ 10 w 10"/>
                  <a:gd name="T1" fmla="*/ 475 h 475"/>
                  <a:gd name="T2" fmla="*/ 0 w 10"/>
                  <a:gd name="T3" fmla="*/ 475 h 475"/>
                  <a:gd name="T4" fmla="*/ 0 w 10"/>
                  <a:gd name="T5" fmla="*/ 0 h 475"/>
                  <a:gd name="T6" fmla="*/ 10 w 10"/>
                  <a:gd name="T7" fmla="*/ 0 h 475"/>
                  <a:gd name="T8" fmla="*/ 10 w 10"/>
                  <a:gd name="T9" fmla="*/ 475 h 475"/>
                  <a:gd name="T10" fmla="*/ 1 w 10"/>
                  <a:gd name="T11" fmla="*/ 474 h 475"/>
                  <a:gd name="T12" fmla="*/ 8 w 10"/>
                  <a:gd name="T13" fmla="*/ 474 h 475"/>
                  <a:gd name="T14" fmla="*/ 8 w 10"/>
                  <a:gd name="T15" fmla="*/ 1 h 475"/>
                  <a:gd name="T16" fmla="*/ 1 w 10"/>
                  <a:gd name="T17" fmla="*/ 1 h 475"/>
                  <a:gd name="T18" fmla="*/ 1 w 10"/>
                  <a:gd name="T19" fmla="*/ 474 h 4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" h="475">
                    <a:moveTo>
                      <a:pt x="10" y="475"/>
                    </a:moveTo>
                    <a:lnTo>
                      <a:pt x="0" y="475"/>
                    </a:lnTo>
                    <a:lnTo>
                      <a:pt x="0" y="0"/>
                    </a:lnTo>
                    <a:lnTo>
                      <a:pt x="10" y="0"/>
                    </a:lnTo>
                    <a:lnTo>
                      <a:pt x="10" y="475"/>
                    </a:lnTo>
                    <a:close/>
                    <a:moveTo>
                      <a:pt x="1" y="474"/>
                    </a:moveTo>
                    <a:lnTo>
                      <a:pt x="8" y="474"/>
                    </a:lnTo>
                    <a:lnTo>
                      <a:pt x="8" y="1"/>
                    </a:lnTo>
                    <a:lnTo>
                      <a:pt x="1" y="1"/>
                    </a:lnTo>
                    <a:lnTo>
                      <a:pt x="1" y="47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308" name="Rectangle 215"/>
              <p:cNvSpPr>
                <a:spLocks noChangeArrowheads="1"/>
              </p:cNvSpPr>
              <p:nvPr/>
            </p:nvSpPr>
            <p:spPr bwMode="auto">
              <a:xfrm>
                <a:off x="-1685925" y="8166100"/>
                <a:ext cx="14288" cy="75247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309" name="Freeform 216"/>
              <p:cNvSpPr>
                <a:spLocks noEditPoints="1"/>
              </p:cNvSpPr>
              <p:nvPr/>
            </p:nvSpPr>
            <p:spPr bwMode="auto">
              <a:xfrm>
                <a:off x="-1685925" y="8164513"/>
                <a:ext cx="14288" cy="754063"/>
              </a:xfrm>
              <a:custGeom>
                <a:avLst/>
                <a:gdLst>
                  <a:gd name="T0" fmla="*/ 9 w 9"/>
                  <a:gd name="T1" fmla="*/ 475 h 475"/>
                  <a:gd name="T2" fmla="*/ 0 w 9"/>
                  <a:gd name="T3" fmla="*/ 475 h 475"/>
                  <a:gd name="T4" fmla="*/ 0 w 9"/>
                  <a:gd name="T5" fmla="*/ 0 h 475"/>
                  <a:gd name="T6" fmla="*/ 9 w 9"/>
                  <a:gd name="T7" fmla="*/ 0 h 475"/>
                  <a:gd name="T8" fmla="*/ 9 w 9"/>
                  <a:gd name="T9" fmla="*/ 475 h 475"/>
                  <a:gd name="T10" fmla="*/ 0 w 9"/>
                  <a:gd name="T11" fmla="*/ 474 h 475"/>
                  <a:gd name="T12" fmla="*/ 8 w 9"/>
                  <a:gd name="T13" fmla="*/ 474 h 475"/>
                  <a:gd name="T14" fmla="*/ 8 w 9"/>
                  <a:gd name="T15" fmla="*/ 1 h 475"/>
                  <a:gd name="T16" fmla="*/ 0 w 9"/>
                  <a:gd name="T17" fmla="*/ 1 h 475"/>
                  <a:gd name="T18" fmla="*/ 0 w 9"/>
                  <a:gd name="T19" fmla="*/ 474 h 4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475">
                    <a:moveTo>
                      <a:pt x="9" y="475"/>
                    </a:moveTo>
                    <a:lnTo>
                      <a:pt x="0" y="475"/>
                    </a:lnTo>
                    <a:lnTo>
                      <a:pt x="0" y="0"/>
                    </a:lnTo>
                    <a:lnTo>
                      <a:pt x="9" y="0"/>
                    </a:lnTo>
                    <a:lnTo>
                      <a:pt x="9" y="475"/>
                    </a:lnTo>
                    <a:close/>
                    <a:moveTo>
                      <a:pt x="0" y="474"/>
                    </a:moveTo>
                    <a:lnTo>
                      <a:pt x="8" y="474"/>
                    </a:lnTo>
                    <a:lnTo>
                      <a:pt x="8" y="1"/>
                    </a:lnTo>
                    <a:lnTo>
                      <a:pt x="0" y="1"/>
                    </a:lnTo>
                    <a:lnTo>
                      <a:pt x="0" y="47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310" name="Rectangle 217"/>
              <p:cNvSpPr>
                <a:spLocks noChangeArrowheads="1"/>
              </p:cNvSpPr>
              <p:nvPr/>
            </p:nvSpPr>
            <p:spPr bwMode="auto">
              <a:xfrm>
                <a:off x="-1649413" y="8166100"/>
                <a:ext cx="14288" cy="75247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311" name="Freeform 218"/>
              <p:cNvSpPr>
                <a:spLocks noEditPoints="1"/>
              </p:cNvSpPr>
              <p:nvPr/>
            </p:nvSpPr>
            <p:spPr bwMode="auto">
              <a:xfrm>
                <a:off x="-1651000" y="8164513"/>
                <a:ext cx="15875" cy="754063"/>
              </a:xfrm>
              <a:custGeom>
                <a:avLst/>
                <a:gdLst>
                  <a:gd name="T0" fmla="*/ 10 w 10"/>
                  <a:gd name="T1" fmla="*/ 475 h 475"/>
                  <a:gd name="T2" fmla="*/ 0 w 10"/>
                  <a:gd name="T3" fmla="*/ 475 h 475"/>
                  <a:gd name="T4" fmla="*/ 0 w 10"/>
                  <a:gd name="T5" fmla="*/ 0 h 475"/>
                  <a:gd name="T6" fmla="*/ 10 w 10"/>
                  <a:gd name="T7" fmla="*/ 0 h 475"/>
                  <a:gd name="T8" fmla="*/ 10 w 10"/>
                  <a:gd name="T9" fmla="*/ 475 h 475"/>
                  <a:gd name="T10" fmla="*/ 2 w 10"/>
                  <a:gd name="T11" fmla="*/ 474 h 475"/>
                  <a:gd name="T12" fmla="*/ 9 w 10"/>
                  <a:gd name="T13" fmla="*/ 474 h 475"/>
                  <a:gd name="T14" fmla="*/ 9 w 10"/>
                  <a:gd name="T15" fmla="*/ 1 h 475"/>
                  <a:gd name="T16" fmla="*/ 2 w 10"/>
                  <a:gd name="T17" fmla="*/ 1 h 475"/>
                  <a:gd name="T18" fmla="*/ 2 w 10"/>
                  <a:gd name="T19" fmla="*/ 474 h 4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" h="475">
                    <a:moveTo>
                      <a:pt x="10" y="475"/>
                    </a:moveTo>
                    <a:lnTo>
                      <a:pt x="0" y="475"/>
                    </a:lnTo>
                    <a:lnTo>
                      <a:pt x="0" y="0"/>
                    </a:lnTo>
                    <a:lnTo>
                      <a:pt x="10" y="0"/>
                    </a:lnTo>
                    <a:lnTo>
                      <a:pt x="10" y="475"/>
                    </a:lnTo>
                    <a:close/>
                    <a:moveTo>
                      <a:pt x="2" y="474"/>
                    </a:moveTo>
                    <a:lnTo>
                      <a:pt x="9" y="474"/>
                    </a:lnTo>
                    <a:lnTo>
                      <a:pt x="9" y="1"/>
                    </a:lnTo>
                    <a:lnTo>
                      <a:pt x="2" y="1"/>
                    </a:lnTo>
                    <a:lnTo>
                      <a:pt x="2" y="47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312" name="Rectangle 219"/>
              <p:cNvSpPr>
                <a:spLocks noChangeArrowheads="1"/>
              </p:cNvSpPr>
              <p:nvPr/>
            </p:nvSpPr>
            <p:spPr bwMode="auto">
              <a:xfrm>
                <a:off x="-1611313" y="8166100"/>
                <a:ext cx="14288" cy="75247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313" name="Freeform 220"/>
              <p:cNvSpPr>
                <a:spLocks noEditPoints="1"/>
              </p:cNvSpPr>
              <p:nvPr/>
            </p:nvSpPr>
            <p:spPr bwMode="auto">
              <a:xfrm>
                <a:off x="-1612900" y="8164513"/>
                <a:ext cx="15875" cy="754063"/>
              </a:xfrm>
              <a:custGeom>
                <a:avLst/>
                <a:gdLst>
                  <a:gd name="T0" fmla="*/ 10 w 10"/>
                  <a:gd name="T1" fmla="*/ 475 h 475"/>
                  <a:gd name="T2" fmla="*/ 0 w 10"/>
                  <a:gd name="T3" fmla="*/ 475 h 475"/>
                  <a:gd name="T4" fmla="*/ 0 w 10"/>
                  <a:gd name="T5" fmla="*/ 0 h 475"/>
                  <a:gd name="T6" fmla="*/ 10 w 10"/>
                  <a:gd name="T7" fmla="*/ 0 h 475"/>
                  <a:gd name="T8" fmla="*/ 10 w 10"/>
                  <a:gd name="T9" fmla="*/ 475 h 475"/>
                  <a:gd name="T10" fmla="*/ 1 w 10"/>
                  <a:gd name="T11" fmla="*/ 474 h 475"/>
                  <a:gd name="T12" fmla="*/ 9 w 10"/>
                  <a:gd name="T13" fmla="*/ 474 h 475"/>
                  <a:gd name="T14" fmla="*/ 9 w 10"/>
                  <a:gd name="T15" fmla="*/ 1 h 475"/>
                  <a:gd name="T16" fmla="*/ 1 w 10"/>
                  <a:gd name="T17" fmla="*/ 1 h 475"/>
                  <a:gd name="T18" fmla="*/ 1 w 10"/>
                  <a:gd name="T19" fmla="*/ 474 h 4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" h="475">
                    <a:moveTo>
                      <a:pt x="10" y="475"/>
                    </a:moveTo>
                    <a:lnTo>
                      <a:pt x="0" y="475"/>
                    </a:lnTo>
                    <a:lnTo>
                      <a:pt x="0" y="0"/>
                    </a:lnTo>
                    <a:lnTo>
                      <a:pt x="10" y="0"/>
                    </a:lnTo>
                    <a:lnTo>
                      <a:pt x="10" y="475"/>
                    </a:lnTo>
                    <a:close/>
                    <a:moveTo>
                      <a:pt x="1" y="474"/>
                    </a:moveTo>
                    <a:lnTo>
                      <a:pt x="9" y="474"/>
                    </a:lnTo>
                    <a:lnTo>
                      <a:pt x="9" y="1"/>
                    </a:lnTo>
                    <a:lnTo>
                      <a:pt x="1" y="1"/>
                    </a:lnTo>
                    <a:lnTo>
                      <a:pt x="1" y="47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314" name="Rectangle 159"/>
              <p:cNvSpPr>
                <a:spLocks noChangeArrowheads="1"/>
              </p:cNvSpPr>
              <p:nvPr/>
            </p:nvSpPr>
            <p:spPr bwMode="auto">
              <a:xfrm>
                <a:off x="-2511425" y="8474075"/>
                <a:ext cx="106363" cy="7778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315" name="Rectangle 160"/>
              <p:cNvSpPr>
                <a:spLocks noChangeArrowheads="1"/>
              </p:cNvSpPr>
              <p:nvPr/>
            </p:nvSpPr>
            <p:spPr bwMode="auto">
              <a:xfrm>
                <a:off x="-2337466" y="8474075"/>
                <a:ext cx="106363" cy="7778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316" name="Rectangle 161"/>
              <p:cNvSpPr>
                <a:spLocks noChangeArrowheads="1"/>
              </p:cNvSpPr>
              <p:nvPr/>
            </p:nvSpPr>
            <p:spPr bwMode="auto">
              <a:xfrm>
                <a:off x="-2163506" y="8474075"/>
                <a:ext cx="102931" cy="7778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2" name="Rechthoek 1"/>
            <p:cNvSpPr/>
            <p:nvPr/>
          </p:nvSpPr>
          <p:spPr>
            <a:xfrm>
              <a:off x="698500" y="1739900"/>
              <a:ext cx="2527300" cy="2527300"/>
            </a:xfrm>
            <a:prstGeom prst="rect">
              <a:avLst/>
            </a:prstGeom>
            <a:noFill/>
            <a:ln w="635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prstClr val="white"/>
                </a:solidFill>
              </a:endParaRPr>
            </a:p>
          </p:txBody>
        </p:sp>
      </p:grpSp>
      <p:grpSp>
        <p:nvGrpSpPr>
          <p:cNvPr id="320" name="Groep 319"/>
          <p:cNvGrpSpPr/>
          <p:nvPr/>
        </p:nvGrpSpPr>
        <p:grpSpPr>
          <a:xfrm>
            <a:off x="8966200" y="1739900"/>
            <a:ext cx="2527300" cy="2527300"/>
            <a:chOff x="8966200" y="1739900"/>
            <a:chExt cx="2527300" cy="2527300"/>
          </a:xfrm>
        </p:grpSpPr>
        <p:grpSp>
          <p:nvGrpSpPr>
            <p:cNvPr id="149" name="Groep 148"/>
            <p:cNvGrpSpPr/>
            <p:nvPr/>
          </p:nvGrpSpPr>
          <p:grpSpPr>
            <a:xfrm>
              <a:off x="9078915" y="2041526"/>
              <a:ext cx="2312987" cy="1770062"/>
              <a:chOff x="9180513" y="2041526"/>
              <a:chExt cx="2312987" cy="1770062"/>
            </a:xfrm>
          </p:grpSpPr>
          <p:grpSp>
            <p:nvGrpSpPr>
              <p:cNvPr id="140" name="Groep 139"/>
              <p:cNvGrpSpPr/>
              <p:nvPr/>
            </p:nvGrpSpPr>
            <p:grpSpPr>
              <a:xfrm>
                <a:off x="9502775" y="2041526"/>
                <a:ext cx="1645675" cy="841374"/>
                <a:chOff x="7340600" y="4664076"/>
                <a:chExt cx="2536825" cy="1296987"/>
              </a:xfrm>
              <a:solidFill>
                <a:schemeClr val="accent3"/>
              </a:solidFill>
            </p:grpSpPr>
            <p:sp>
              <p:nvSpPr>
                <p:cNvPr id="138" name="Freeform 46"/>
                <p:cNvSpPr>
                  <a:spLocks noEditPoints="1"/>
                </p:cNvSpPr>
                <p:nvPr/>
              </p:nvSpPr>
              <p:spPr bwMode="auto">
                <a:xfrm>
                  <a:off x="8804275" y="5154613"/>
                  <a:ext cx="1073150" cy="806450"/>
                </a:xfrm>
                <a:custGeom>
                  <a:avLst/>
                  <a:gdLst>
                    <a:gd name="T0" fmla="*/ 150 w 515"/>
                    <a:gd name="T1" fmla="*/ 161 h 387"/>
                    <a:gd name="T2" fmla="*/ 122 w 515"/>
                    <a:gd name="T3" fmla="*/ 151 h 387"/>
                    <a:gd name="T4" fmla="*/ 122 w 515"/>
                    <a:gd name="T5" fmla="*/ 150 h 387"/>
                    <a:gd name="T6" fmla="*/ 96 w 515"/>
                    <a:gd name="T7" fmla="*/ 105 h 387"/>
                    <a:gd name="T8" fmla="*/ 115 w 515"/>
                    <a:gd name="T9" fmla="*/ 91 h 387"/>
                    <a:gd name="T10" fmla="*/ 166 w 515"/>
                    <a:gd name="T11" fmla="*/ 121 h 387"/>
                    <a:gd name="T12" fmla="*/ 150 w 515"/>
                    <a:gd name="T13" fmla="*/ 161 h 387"/>
                    <a:gd name="T14" fmla="*/ 387 w 515"/>
                    <a:gd name="T15" fmla="*/ 0 h 387"/>
                    <a:gd name="T16" fmla="*/ 382 w 515"/>
                    <a:gd name="T17" fmla="*/ 0 h 387"/>
                    <a:gd name="T18" fmla="*/ 324 w 515"/>
                    <a:gd name="T19" fmla="*/ 58 h 387"/>
                    <a:gd name="T20" fmla="*/ 258 w 515"/>
                    <a:gd name="T21" fmla="*/ 118 h 387"/>
                    <a:gd name="T22" fmla="*/ 214 w 515"/>
                    <a:gd name="T23" fmla="*/ 100 h 387"/>
                    <a:gd name="T24" fmla="*/ 213 w 515"/>
                    <a:gd name="T25" fmla="*/ 100 h 387"/>
                    <a:gd name="T26" fmla="*/ 227 w 515"/>
                    <a:gd name="T27" fmla="*/ 57 h 387"/>
                    <a:gd name="T28" fmla="*/ 167 w 515"/>
                    <a:gd name="T29" fmla="*/ 1 h 387"/>
                    <a:gd name="T30" fmla="*/ 162 w 515"/>
                    <a:gd name="T31" fmla="*/ 1 h 387"/>
                    <a:gd name="T32" fmla="*/ 118 w 515"/>
                    <a:gd name="T33" fmla="*/ 26 h 387"/>
                    <a:gd name="T34" fmla="*/ 77 w 515"/>
                    <a:gd name="T35" fmla="*/ 5 h 387"/>
                    <a:gd name="T36" fmla="*/ 73 w 515"/>
                    <a:gd name="T37" fmla="*/ 5 h 387"/>
                    <a:gd name="T38" fmla="*/ 25 w 515"/>
                    <a:gd name="T39" fmla="*/ 60 h 387"/>
                    <a:gd name="T40" fmla="*/ 44 w 515"/>
                    <a:gd name="T41" fmla="*/ 97 h 387"/>
                    <a:gd name="T42" fmla="*/ 2 w 515"/>
                    <a:gd name="T43" fmla="*/ 159 h 387"/>
                    <a:gd name="T44" fmla="*/ 51 w 515"/>
                    <a:gd name="T45" fmla="*/ 214 h 387"/>
                    <a:gd name="T46" fmla="*/ 52 w 515"/>
                    <a:gd name="T47" fmla="*/ 219 h 387"/>
                    <a:gd name="T48" fmla="*/ 78 w 515"/>
                    <a:gd name="T49" fmla="*/ 266 h 387"/>
                    <a:gd name="T50" fmla="*/ 41 w 515"/>
                    <a:gd name="T51" fmla="*/ 328 h 387"/>
                    <a:gd name="T52" fmla="*/ 105 w 515"/>
                    <a:gd name="T53" fmla="*/ 387 h 387"/>
                    <a:gd name="T54" fmla="*/ 110 w 515"/>
                    <a:gd name="T55" fmla="*/ 386 h 387"/>
                    <a:gd name="T56" fmla="*/ 151 w 515"/>
                    <a:gd name="T57" fmla="*/ 367 h 387"/>
                    <a:gd name="T58" fmla="*/ 207 w 515"/>
                    <a:gd name="T59" fmla="*/ 386 h 387"/>
                    <a:gd name="T60" fmla="*/ 214 w 515"/>
                    <a:gd name="T61" fmla="*/ 386 h 387"/>
                    <a:gd name="T62" fmla="*/ 257 w 515"/>
                    <a:gd name="T63" fmla="*/ 372 h 387"/>
                    <a:gd name="T64" fmla="*/ 272 w 515"/>
                    <a:gd name="T65" fmla="*/ 374 h 387"/>
                    <a:gd name="T66" fmla="*/ 341 w 515"/>
                    <a:gd name="T67" fmla="*/ 326 h 387"/>
                    <a:gd name="T68" fmla="*/ 342 w 515"/>
                    <a:gd name="T69" fmla="*/ 242 h 387"/>
                    <a:gd name="T70" fmla="*/ 351 w 515"/>
                    <a:gd name="T71" fmla="*/ 236 h 387"/>
                    <a:gd name="T72" fmla="*/ 419 w 515"/>
                    <a:gd name="T73" fmla="*/ 269 h 387"/>
                    <a:gd name="T74" fmla="*/ 426 w 515"/>
                    <a:gd name="T75" fmla="*/ 269 h 387"/>
                    <a:gd name="T76" fmla="*/ 500 w 515"/>
                    <a:gd name="T77" fmla="*/ 199 h 387"/>
                    <a:gd name="T78" fmla="*/ 482 w 515"/>
                    <a:gd name="T79" fmla="*/ 163 h 387"/>
                    <a:gd name="T80" fmla="*/ 513 w 515"/>
                    <a:gd name="T81" fmla="*/ 103 h 387"/>
                    <a:gd name="T82" fmla="*/ 449 w 515"/>
                    <a:gd name="T83" fmla="*/ 44 h 387"/>
                    <a:gd name="T84" fmla="*/ 448 w 515"/>
                    <a:gd name="T85" fmla="*/ 44 h 387"/>
                    <a:gd name="T86" fmla="*/ 387 w 515"/>
                    <a:gd name="T87" fmla="*/ 0 h 3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515" h="387">
                      <a:moveTo>
                        <a:pt x="150" y="161"/>
                      </a:moveTo>
                      <a:cubicBezTo>
                        <a:pt x="142" y="156"/>
                        <a:pt x="132" y="152"/>
                        <a:pt x="122" y="151"/>
                      </a:cubicBezTo>
                      <a:cubicBezTo>
                        <a:pt x="122" y="151"/>
                        <a:pt x="122" y="150"/>
                        <a:pt x="122" y="150"/>
                      </a:cubicBezTo>
                      <a:cubicBezTo>
                        <a:pt x="121" y="131"/>
                        <a:pt x="110" y="115"/>
                        <a:pt x="96" y="105"/>
                      </a:cubicBezTo>
                      <a:cubicBezTo>
                        <a:pt x="103" y="102"/>
                        <a:pt x="110" y="97"/>
                        <a:pt x="115" y="91"/>
                      </a:cubicBezTo>
                      <a:cubicBezTo>
                        <a:pt x="125" y="109"/>
                        <a:pt x="144" y="121"/>
                        <a:pt x="166" y="121"/>
                      </a:cubicBezTo>
                      <a:cubicBezTo>
                        <a:pt x="156" y="132"/>
                        <a:pt x="151" y="146"/>
                        <a:pt x="150" y="161"/>
                      </a:cubicBezTo>
                      <a:moveTo>
                        <a:pt x="387" y="0"/>
                      </a:moveTo>
                      <a:cubicBezTo>
                        <a:pt x="385" y="0"/>
                        <a:pt x="384" y="0"/>
                        <a:pt x="382" y="0"/>
                      </a:cubicBezTo>
                      <a:cubicBezTo>
                        <a:pt x="351" y="2"/>
                        <a:pt x="326" y="27"/>
                        <a:pt x="324" y="58"/>
                      </a:cubicBezTo>
                      <a:cubicBezTo>
                        <a:pt x="290" y="62"/>
                        <a:pt x="264" y="87"/>
                        <a:pt x="258" y="118"/>
                      </a:cubicBezTo>
                      <a:cubicBezTo>
                        <a:pt x="247" y="107"/>
                        <a:pt x="231" y="100"/>
                        <a:pt x="214" y="100"/>
                      </a:cubicBezTo>
                      <a:cubicBezTo>
                        <a:pt x="213" y="100"/>
                        <a:pt x="213" y="100"/>
                        <a:pt x="213" y="100"/>
                      </a:cubicBezTo>
                      <a:cubicBezTo>
                        <a:pt x="222" y="88"/>
                        <a:pt x="228" y="73"/>
                        <a:pt x="227" y="57"/>
                      </a:cubicBezTo>
                      <a:cubicBezTo>
                        <a:pt x="224" y="25"/>
                        <a:pt x="198" y="1"/>
                        <a:pt x="167" y="1"/>
                      </a:cubicBezTo>
                      <a:cubicBezTo>
                        <a:pt x="165" y="1"/>
                        <a:pt x="164" y="1"/>
                        <a:pt x="162" y="1"/>
                      </a:cubicBezTo>
                      <a:cubicBezTo>
                        <a:pt x="144" y="2"/>
                        <a:pt x="128" y="12"/>
                        <a:pt x="118" y="26"/>
                      </a:cubicBezTo>
                      <a:cubicBezTo>
                        <a:pt x="109" y="13"/>
                        <a:pt x="93" y="5"/>
                        <a:pt x="77" y="5"/>
                      </a:cubicBezTo>
                      <a:cubicBezTo>
                        <a:pt x="75" y="5"/>
                        <a:pt x="74" y="5"/>
                        <a:pt x="73" y="5"/>
                      </a:cubicBezTo>
                      <a:cubicBezTo>
                        <a:pt x="44" y="7"/>
                        <a:pt x="23" y="32"/>
                        <a:pt x="25" y="60"/>
                      </a:cubicBezTo>
                      <a:cubicBezTo>
                        <a:pt x="26" y="75"/>
                        <a:pt x="33" y="88"/>
                        <a:pt x="44" y="97"/>
                      </a:cubicBezTo>
                      <a:cubicBezTo>
                        <a:pt x="18" y="105"/>
                        <a:pt x="0" y="130"/>
                        <a:pt x="2" y="159"/>
                      </a:cubicBezTo>
                      <a:cubicBezTo>
                        <a:pt x="4" y="187"/>
                        <a:pt x="25" y="209"/>
                        <a:pt x="51" y="214"/>
                      </a:cubicBezTo>
                      <a:cubicBezTo>
                        <a:pt x="51" y="215"/>
                        <a:pt x="51" y="217"/>
                        <a:pt x="52" y="219"/>
                      </a:cubicBezTo>
                      <a:cubicBezTo>
                        <a:pt x="53" y="238"/>
                        <a:pt x="63" y="255"/>
                        <a:pt x="78" y="266"/>
                      </a:cubicBezTo>
                      <a:cubicBezTo>
                        <a:pt x="55" y="277"/>
                        <a:pt x="39" y="301"/>
                        <a:pt x="41" y="328"/>
                      </a:cubicBezTo>
                      <a:cubicBezTo>
                        <a:pt x="44" y="361"/>
                        <a:pt x="72" y="387"/>
                        <a:pt x="105" y="387"/>
                      </a:cubicBezTo>
                      <a:cubicBezTo>
                        <a:pt x="106" y="387"/>
                        <a:pt x="108" y="387"/>
                        <a:pt x="110" y="386"/>
                      </a:cubicBezTo>
                      <a:cubicBezTo>
                        <a:pt x="126" y="385"/>
                        <a:pt x="140" y="378"/>
                        <a:pt x="151" y="367"/>
                      </a:cubicBezTo>
                      <a:cubicBezTo>
                        <a:pt x="167" y="379"/>
                        <a:pt x="186" y="386"/>
                        <a:pt x="207" y="386"/>
                      </a:cubicBezTo>
                      <a:cubicBezTo>
                        <a:pt x="209" y="386"/>
                        <a:pt x="212" y="386"/>
                        <a:pt x="214" y="386"/>
                      </a:cubicBezTo>
                      <a:cubicBezTo>
                        <a:pt x="230" y="384"/>
                        <a:pt x="244" y="379"/>
                        <a:pt x="257" y="372"/>
                      </a:cubicBezTo>
                      <a:cubicBezTo>
                        <a:pt x="261" y="373"/>
                        <a:pt x="267" y="374"/>
                        <a:pt x="272" y="374"/>
                      </a:cubicBezTo>
                      <a:cubicBezTo>
                        <a:pt x="298" y="374"/>
                        <a:pt x="326" y="356"/>
                        <a:pt x="341" y="326"/>
                      </a:cubicBezTo>
                      <a:cubicBezTo>
                        <a:pt x="357" y="297"/>
                        <a:pt x="357" y="264"/>
                        <a:pt x="342" y="242"/>
                      </a:cubicBezTo>
                      <a:cubicBezTo>
                        <a:pt x="345" y="240"/>
                        <a:pt x="348" y="238"/>
                        <a:pt x="351" y="236"/>
                      </a:cubicBezTo>
                      <a:cubicBezTo>
                        <a:pt x="364" y="256"/>
                        <a:pt x="390" y="269"/>
                        <a:pt x="419" y="269"/>
                      </a:cubicBezTo>
                      <a:cubicBezTo>
                        <a:pt x="421" y="269"/>
                        <a:pt x="424" y="269"/>
                        <a:pt x="426" y="269"/>
                      </a:cubicBezTo>
                      <a:cubicBezTo>
                        <a:pt x="470" y="266"/>
                        <a:pt x="503" y="235"/>
                        <a:pt x="500" y="199"/>
                      </a:cubicBezTo>
                      <a:cubicBezTo>
                        <a:pt x="499" y="185"/>
                        <a:pt x="492" y="173"/>
                        <a:pt x="482" y="163"/>
                      </a:cubicBezTo>
                      <a:cubicBezTo>
                        <a:pt x="502" y="151"/>
                        <a:pt x="515" y="128"/>
                        <a:pt x="513" y="103"/>
                      </a:cubicBezTo>
                      <a:cubicBezTo>
                        <a:pt x="510" y="70"/>
                        <a:pt x="482" y="44"/>
                        <a:pt x="449" y="44"/>
                      </a:cubicBezTo>
                      <a:cubicBezTo>
                        <a:pt x="449" y="44"/>
                        <a:pt x="448" y="44"/>
                        <a:pt x="448" y="44"/>
                      </a:cubicBezTo>
                      <a:cubicBezTo>
                        <a:pt x="439" y="18"/>
                        <a:pt x="415" y="0"/>
                        <a:pt x="387" y="0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9" name="Freeform 47"/>
                <p:cNvSpPr>
                  <a:spLocks/>
                </p:cNvSpPr>
                <p:nvPr/>
              </p:nvSpPr>
              <p:spPr bwMode="auto">
                <a:xfrm>
                  <a:off x="7340600" y="4664076"/>
                  <a:ext cx="1677988" cy="1211263"/>
                </a:xfrm>
                <a:custGeom>
                  <a:avLst/>
                  <a:gdLst>
                    <a:gd name="T0" fmla="*/ 381 w 807"/>
                    <a:gd name="T1" fmla="*/ 0 h 581"/>
                    <a:gd name="T2" fmla="*/ 346 w 807"/>
                    <a:gd name="T3" fmla="*/ 5 h 581"/>
                    <a:gd name="T4" fmla="*/ 271 w 807"/>
                    <a:gd name="T5" fmla="*/ 96 h 581"/>
                    <a:gd name="T6" fmla="*/ 267 w 807"/>
                    <a:gd name="T7" fmla="*/ 96 h 581"/>
                    <a:gd name="T8" fmla="*/ 221 w 807"/>
                    <a:gd name="T9" fmla="*/ 103 h 581"/>
                    <a:gd name="T10" fmla="*/ 124 w 807"/>
                    <a:gd name="T11" fmla="*/ 244 h 581"/>
                    <a:gd name="T12" fmla="*/ 96 w 807"/>
                    <a:gd name="T13" fmla="*/ 249 h 581"/>
                    <a:gd name="T14" fmla="*/ 21 w 807"/>
                    <a:gd name="T15" fmla="*/ 389 h 581"/>
                    <a:gd name="T16" fmla="*/ 44 w 807"/>
                    <a:gd name="T17" fmla="*/ 426 h 581"/>
                    <a:gd name="T18" fmla="*/ 15 w 807"/>
                    <a:gd name="T19" fmla="*/ 503 h 581"/>
                    <a:gd name="T20" fmla="*/ 84 w 807"/>
                    <a:gd name="T21" fmla="*/ 548 h 581"/>
                    <a:gd name="T22" fmla="*/ 107 w 807"/>
                    <a:gd name="T23" fmla="*/ 544 h 581"/>
                    <a:gd name="T24" fmla="*/ 125 w 807"/>
                    <a:gd name="T25" fmla="*/ 536 h 581"/>
                    <a:gd name="T26" fmla="*/ 221 w 807"/>
                    <a:gd name="T27" fmla="*/ 581 h 581"/>
                    <a:gd name="T28" fmla="*/ 259 w 807"/>
                    <a:gd name="T29" fmla="*/ 575 h 581"/>
                    <a:gd name="T30" fmla="*/ 335 w 807"/>
                    <a:gd name="T31" fmla="*/ 504 h 581"/>
                    <a:gd name="T32" fmla="*/ 388 w 807"/>
                    <a:gd name="T33" fmla="*/ 514 h 581"/>
                    <a:gd name="T34" fmla="*/ 532 w 807"/>
                    <a:gd name="T35" fmla="*/ 436 h 581"/>
                    <a:gd name="T36" fmla="*/ 553 w 807"/>
                    <a:gd name="T37" fmla="*/ 297 h 581"/>
                    <a:gd name="T38" fmla="*/ 567 w 807"/>
                    <a:gd name="T39" fmla="*/ 299 h 581"/>
                    <a:gd name="T40" fmla="*/ 589 w 807"/>
                    <a:gd name="T41" fmla="*/ 295 h 581"/>
                    <a:gd name="T42" fmla="*/ 636 w 807"/>
                    <a:gd name="T43" fmla="*/ 219 h 581"/>
                    <a:gd name="T44" fmla="*/ 643 w 807"/>
                    <a:gd name="T45" fmla="*/ 219 h 581"/>
                    <a:gd name="T46" fmla="*/ 665 w 807"/>
                    <a:gd name="T47" fmla="*/ 216 h 581"/>
                    <a:gd name="T48" fmla="*/ 710 w 807"/>
                    <a:gd name="T49" fmla="*/ 175 h 581"/>
                    <a:gd name="T50" fmla="*/ 733 w 807"/>
                    <a:gd name="T51" fmla="*/ 178 h 581"/>
                    <a:gd name="T52" fmla="*/ 807 w 807"/>
                    <a:gd name="T53" fmla="*/ 110 h 581"/>
                    <a:gd name="T54" fmla="*/ 733 w 807"/>
                    <a:gd name="T55" fmla="*/ 42 h 581"/>
                    <a:gd name="T56" fmla="*/ 685 w 807"/>
                    <a:gd name="T57" fmla="*/ 58 h 581"/>
                    <a:gd name="T58" fmla="*/ 637 w 807"/>
                    <a:gd name="T59" fmla="*/ 41 h 581"/>
                    <a:gd name="T60" fmla="*/ 616 w 807"/>
                    <a:gd name="T61" fmla="*/ 44 h 581"/>
                    <a:gd name="T62" fmla="*/ 581 w 807"/>
                    <a:gd name="T63" fmla="*/ 68 h 581"/>
                    <a:gd name="T64" fmla="*/ 515 w 807"/>
                    <a:gd name="T65" fmla="*/ 27 h 581"/>
                    <a:gd name="T66" fmla="*/ 492 w 807"/>
                    <a:gd name="T67" fmla="*/ 31 h 581"/>
                    <a:gd name="T68" fmla="*/ 470 w 807"/>
                    <a:gd name="T69" fmla="*/ 42 h 581"/>
                    <a:gd name="T70" fmla="*/ 381 w 807"/>
                    <a:gd name="T71" fmla="*/ 0 h 5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807" h="581">
                      <a:moveTo>
                        <a:pt x="381" y="0"/>
                      </a:moveTo>
                      <a:cubicBezTo>
                        <a:pt x="369" y="0"/>
                        <a:pt x="357" y="2"/>
                        <a:pt x="346" y="5"/>
                      </a:cubicBezTo>
                      <a:cubicBezTo>
                        <a:pt x="302" y="19"/>
                        <a:pt x="274" y="56"/>
                        <a:pt x="271" y="96"/>
                      </a:cubicBezTo>
                      <a:cubicBezTo>
                        <a:pt x="270" y="96"/>
                        <a:pt x="269" y="96"/>
                        <a:pt x="267" y="96"/>
                      </a:cubicBezTo>
                      <a:cubicBezTo>
                        <a:pt x="252" y="96"/>
                        <a:pt x="236" y="98"/>
                        <a:pt x="221" y="103"/>
                      </a:cubicBezTo>
                      <a:cubicBezTo>
                        <a:pt x="155" y="123"/>
                        <a:pt x="116" y="183"/>
                        <a:pt x="124" y="244"/>
                      </a:cubicBezTo>
                      <a:cubicBezTo>
                        <a:pt x="115" y="245"/>
                        <a:pt x="106" y="247"/>
                        <a:pt x="96" y="249"/>
                      </a:cubicBezTo>
                      <a:cubicBezTo>
                        <a:pt x="34" y="269"/>
                        <a:pt x="0" y="331"/>
                        <a:pt x="21" y="389"/>
                      </a:cubicBezTo>
                      <a:cubicBezTo>
                        <a:pt x="27" y="403"/>
                        <a:pt x="34" y="415"/>
                        <a:pt x="44" y="426"/>
                      </a:cubicBezTo>
                      <a:cubicBezTo>
                        <a:pt x="17" y="442"/>
                        <a:pt x="4" y="473"/>
                        <a:pt x="15" y="503"/>
                      </a:cubicBezTo>
                      <a:cubicBezTo>
                        <a:pt x="25" y="530"/>
                        <a:pt x="54" y="548"/>
                        <a:pt x="84" y="548"/>
                      </a:cubicBezTo>
                      <a:cubicBezTo>
                        <a:pt x="91" y="548"/>
                        <a:pt x="99" y="547"/>
                        <a:pt x="107" y="544"/>
                      </a:cubicBezTo>
                      <a:cubicBezTo>
                        <a:pt x="113" y="542"/>
                        <a:pt x="119" y="539"/>
                        <a:pt x="125" y="536"/>
                      </a:cubicBezTo>
                      <a:cubicBezTo>
                        <a:pt x="147" y="564"/>
                        <a:pt x="183" y="581"/>
                        <a:pt x="221" y="581"/>
                      </a:cubicBezTo>
                      <a:cubicBezTo>
                        <a:pt x="234" y="581"/>
                        <a:pt x="247" y="579"/>
                        <a:pt x="259" y="575"/>
                      </a:cubicBezTo>
                      <a:cubicBezTo>
                        <a:pt x="297" y="563"/>
                        <a:pt x="324" y="536"/>
                        <a:pt x="335" y="504"/>
                      </a:cubicBezTo>
                      <a:cubicBezTo>
                        <a:pt x="352" y="511"/>
                        <a:pt x="370" y="514"/>
                        <a:pt x="388" y="514"/>
                      </a:cubicBezTo>
                      <a:cubicBezTo>
                        <a:pt x="442" y="514"/>
                        <a:pt x="498" y="486"/>
                        <a:pt x="532" y="436"/>
                      </a:cubicBezTo>
                      <a:cubicBezTo>
                        <a:pt x="563" y="392"/>
                        <a:pt x="569" y="340"/>
                        <a:pt x="553" y="297"/>
                      </a:cubicBezTo>
                      <a:cubicBezTo>
                        <a:pt x="557" y="298"/>
                        <a:pt x="562" y="299"/>
                        <a:pt x="567" y="299"/>
                      </a:cubicBezTo>
                      <a:cubicBezTo>
                        <a:pt x="574" y="299"/>
                        <a:pt x="582" y="297"/>
                        <a:pt x="589" y="295"/>
                      </a:cubicBezTo>
                      <a:cubicBezTo>
                        <a:pt x="624" y="284"/>
                        <a:pt x="644" y="251"/>
                        <a:pt x="636" y="219"/>
                      </a:cubicBezTo>
                      <a:cubicBezTo>
                        <a:pt x="638" y="219"/>
                        <a:pt x="641" y="219"/>
                        <a:pt x="643" y="219"/>
                      </a:cubicBezTo>
                      <a:cubicBezTo>
                        <a:pt x="650" y="219"/>
                        <a:pt x="658" y="218"/>
                        <a:pt x="665" y="216"/>
                      </a:cubicBezTo>
                      <a:cubicBezTo>
                        <a:pt x="687" y="209"/>
                        <a:pt x="703" y="193"/>
                        <a:pt x="710" y="175"/>
                      </a:cubicBezTo>
                      <a:cubicBezTo>
                        <a:pt x="717" y="177"/>
                        <a:pt x="725" y="178"/>
                        <a:pt x="733" y="178"/>
                      </a:cubicBezTo>
                      <a:cubicBezTo>
                        <a:pt x="774" y="178"/>
                        <a:pt x="807" y="148"/>
                        <a:pt x="807" y="110"/>
                      </a:cubicBezTo>
                      <a:cubicBezTo>
                        <a:pt x="807" y="72"/>
                        <a:pt x="774" y="42"/>
                        <a:pt x="733" y="42"/>
                      </a:cubicBezTo>
                      <a:cubicBezTo>
                        <a:pt x="715" y="42"/>
                        <a:pt x="698" y="48"/>
                        <a:pt x="685" y="58"/>
                      </a:cubicBezTo>
                      <a:cubicBezTo>
                        <a:pt x="672" y="47"/>
                        <a:pt x="655" y="41"/>
                        <a:pt x="637" y="41"/>
                      </a:cubicBezTo>
                      <a:cubicBezTo>
                        <a:pt x="630" y="41"/>
                        <a:pt x="623" y="42"/>
                        <a:pt x="616" y="44"/>
                      </a:cubicBezTo>
                      <a:cubicBezTo>
                        <a:pt x="601" y="48"/>
                        <a:pt x="589" y="57"/>
                        <a:pt x="581" y="68"/>
                      </a:cubicBezTo>
                      <a:cubicBezTo>
                        <a:pt x="570" y="43"/>
                        <a:pt x="543" y="27"/>
                        <a:pt x="515" y="27"/>
                      </a:cubicBezTo>
                      <a:cubicBezTo>
                        <a:pt x="508" y="27"/>
                        <a:pt x="500" y="28"/>
                        <a:pt x="492" y="31"/>
                      </a:cubicBezTo>
                      <a:cubicBezTo>
                        <a:pt x="484" y="33"/>
                        <a:pt x="476" y="37"/>
                        <a:pt x="470" y="42"/>
                      </a:cubicBezTo>
                      <a:cubicBezTo>
                        <a:pt x="449" y="16"/>
                        <a:pt x="416" y="0"/>
                        <a:pt x="381" y="0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42" name="Group 50"/>
              <p:cNvGrpSpPr>
                <a:grpSpLocks noChangeAspect="1"/>
              </p:cNvGrpSpPr>
              <p:nvPr/>
            </p:nvGrpSpPr>
            <p:grpSpPr bwMode="auto">
              <a:xfrm>
                <a:off x="9180513" y="2841625"/>
                <a:ext cx="2312987" cy="969963"/>
                <a:chOff x="5783" y="1790"/>
                <a:chExt cx="1457" cy="611"/>
              </a:xfrm>
            </p:grpSpPr>
            <p:sp>
              <p:nvSpPr>
                <p:cNvPr id="143" name="AutoShape 49"/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5783" y="1834"/>
                  <a:ext cx="1233" cy="56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4" name="Freeform 51"/>
                <p:cNvSpPr>
                  <a:spLocks/>
                </p:cNvSpPr>
                <p:nvPr/>
              </p:nvSpPr>
              <p:spPr bwMode="auto">
                <a:xfrm>
                  <a:off x="6000" y="1790"/>
                  <a:ext cx="1240" cy="565"/>
                </a:xfrm>
                <a:custGeom>
                  <a:avLst/>
                  <a:gdLst>
                    <a:gd name="T0" fmla="*/ 185 w 522"/>
                    <a:gd name="T1" fmla="*/ 0 h 236"/>
                    <a:gd name="T2" fmla="*/ 180 w 522"/>
                    <a:gd name="T3" fmla="*/ 0 h 236"/>
                    <a:gd name="T4" fmla="*/ 119 w 522"/>
                    <a:gd name="T5" fmla="*/ 71 h 236"/>
                    <a:gd name="T6" fmla="*/ 125 w 522"/>
                    <a:gd name="T7" fmla="*/ 96 h 236"/>
                    <a:gd name="T8" fmla="*/ 103 w 522"/>
                    <a:gd name="T9" fmla="*/ 94 h 236"/>
                    <a:gd name="T10" fmla="*/ 94 w 522"/>
                    <a:gd name="T11" fmla="*/ 94 h 236"/>
                    <a:gd name="T12" fmla="*/ 3 w 522"/>
                    <a:gd name="T13" fmla="*/ 172 h 236"/>
                    <a:gd name="T14" fmla="*/ 95 w 522"/>
                    <a:gd name="T15" fmla="*/ 236 h 236"/>
                    <a:gd name="T16" fmla="*/ 104 w 522"/>
                    <a:gd name="T17" fmla="*/ 236 h 236"/>
                    <a:gd name="T18" fmla="*/ 179 w 522"/>
                    <a:gd name="T19" fmla="*/ 202 h 236"/>
                    <a:gd name="T20" fmla="*/ 212 w 522"/>
                    <a:gd name="T21" fmla="*/ 217 h 236"/>
                    <a:gd name="T22" fmla="*/ 216 w 522"/>
                    <a:gd name="T23" fmla="*/ 216 h 236"/>
                    <a:gd name="T24" fmla="*/ 245 w 522"/>
                    <a:gd name="T25" fmla="*/ 203 h 236"/>
                    <a:gd name="T26" fmla="*/ 285 w 522"/>
                    <a:gd name="T27" fmla="*/ 226 h 236"/>
                    <a:gd name="T28" fmla="*/ 288 w 522"/>
                    <a:gd name="T29" fmla="*/ 226 h 236"/>
                    <a:gd name="T30" fmla="*/ 325 w 522"/>
                    <a:gd name="T31" fmla="*/ 203 h 236"/>
                    <a:gd name="T32" fmla="*/ 367 w 522"/>
                    <a:gd name="T33" fmla="*/ 230 h 236"/>
                    <a:gd name="T34" fmla="*/ 370 w 522"/>
                    <a:gd name="T35" fmla="*/ 230 h 236"/>
                    <a:gd name="T36" fmla="*/ 412 w 522"/>
                    <a:gd name="T37" fmla="*/ 192 h 236"/>
                    <a:gd name="T38" fmla="*/ 430 w 522"/>
                    <a:gd name="T39" fmla="*/ 195 h 236"/>
                    <a:gd name="T40" fmla="*/ 451 w 522"/>
                    <a:gd name="T41" fmla="*/ 187 h 236"/>
                    <a:gd name="T42" fmla="*/ 459 w 522"/>
                    <a:gd name="T43" fmla="*/ 145 h 236"/>
                    <a:gd name="T44" fmla="*/ 471 w 522"/>
                    <a:gd name="T45" fmla="*/ 146 h 236"/>
                    <a:gd name="T46" fmla="*/ 476 w 522"/>
                    <a:gd name="T47" fmla="*/ 146 h 236"/>
                    <a:gd name="T48" fmla="*/ 521 w 522"/>
                    <a:gd name="T49" fmla="*/ 106 h 236"/>
                    <a:gd name="T50" fmla="*/ 479 w 522"/>
                    <a:gd name="T51" fmla="*/ 74 h 236"/>
                    <a:gd name="T52" fmla="*/ 479 w 522"/>
                    <a:gd name="T53" fmla="*/ 65 h 236"/>
                    <a:gd name="T54" fmla="*/ 432 w 522"/>
                    <a:gd name="T55" fmla="*/ 21 h 236"/>
                    <a:gd name="T56" fmla="*/ 428 w 522"/>
                    <a:gd name="T57" fmla="*/ 21 h 236"/>
                    <a:gd name="T58" fmla="*/ 385 w 522"/>
                    <a:gd name="T59" fmla="*/ 63 h 236"/>
                    <a:gd name="T60" fmla="*/ 365 w 522"/>
                    <a:gd name="T61" fmla="*/ 59 h 236"/>
                    <a:gd name="T62" fmla="*/ 344 w 522"/>
                    <a:gd name="T63" fmla="*/ 66 h 236"/>
                    <a:gd name="T64" fmla="*/ 334 w 522"/>
                    <a:gd name="T65" fmla="*/ 94 h 236"/>
                    <a:gd name="T66" fmla="*/ 319 w 522"/>
                    <a:gd name="T67" fmla="*/ 91 h 236"/>
                    <a:gd name="T68" fmla="*/ 315 w 522"/>
                    <a:gd name="T69" fmla="*/ 92 h 236"/>
                    <a:gd name="T70" fmla="*/ 305 w 522"/>
                    <a:gd name="T71" fmla="*/ 94 h 236"/>
                    <a:gd name="T72" fmla="*/ 265 w 522"/>
                    <a:gd name="T73" fmla="*/ 71 h 236"/>
                    <a:gd name="T74" fmla="*/ 262 w 522"/>
                    <a:gd name="T75" fmla="*/ 71 h 236"/>
                    <a:gd name="T76" fmla="*/ 252 w 522"/>
                    <a:gd name="T77" fmla="*/ 73 h 236"/>
                    <a:gd name="T78" fmla="*/ 252 w 522"/>
                    <a:gd name="T79" fmla="*/ 61 h 236"/>
                    <a:gd name="T80" fmla="*/ 185 w 522"/>
                    <a:gd name="T81" fmla="*/ 0 h 2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522" h="236">
                      <a:moveTo>
                        <a:pt x="185" y="0"/>
                      </a:moveTo>
                      <a:cubicBezTo>
                        <a:pt x="184" y="0"/>
                        <a:pt x="182" y="0"/>
                        <a:pt x="180" y="0"/>
                      </a:cubicBezTo>
                      <a:cubicBezTo>
                        <a:pt x="144" y="3"/>
                        <a:pt x="116" y="35"/>
                        <a:pt x="119" y="71"/>
                      </a:cubicBezTo>
                      <a:cubicBezTo>
                        <a:pt x="119" y="80"/>
                        <a:pt x="122" y="88"/>
                        <a:pt x="125" y="96"/>
                      </a:cubicBezTo>
                      <a:cubicBezTo>
                        <a:pt x="118" y="94"/>
                        <a:pt x="111" y="94"/>
                        <a:pt x="103" y="94"/>
                      </a:cubicBezTo>
                      <a:cubicBezTo>
                        <a:pt x="100" y="94"/>
                        <a:pt x="97" y="94"/>
                        <a:pt x="94" y="94"/>
                      </a:cubicBezTo>
                      <a:cubicBezTo>
                        <a:pt x="41" y="98"/>
                        <a:pt x="0" y="133"/>
                        <a:pt x="3" y="172"/>
                      </a:cubicBezTo>
                      <a:cubicBezTo>
                        <a:pt x="6" y="209"/>
                        <a:pt x="46" y="236"/>
                        <a:pt x="95" y="236"/>
                      </a:cubicBezTo>
                      <a:cubicBezTo>
                        <a:pt x="98" y="236"/>
                        <a:pt x="101" y="236"/>
                        <a:pt x="104" y="236"/>
                      </a:cubicBezTo>
                      <a:cubicBezTo>
                        <a:pt x="136" y="233"/>
                        <a:pt x="162" y="220"/>
                        <a:pt x="179" y="202"/>
                      </a:cubicBezTo>
                      <a:cubicBezTo>
                        <a:pt x="187" y="211"/>
                        <a:pt x="199" y="217"/>
                        <a:pt x="212" y="217"/>
                      </a:cubicBezTo>
                      <a:cubicBezTo>
                        <a:pt x="213" y="217"/>
                        <a:pt x="214" y="217"/>
                        <a:pt x="216" y="216"/>
                      </a:cubicBezTo>
                      <a:cubicBezTo>
                        <a:pt x="227" y="216"/>
                        <a:pt x="237" y="211"/>
                        <a:pt x="245" y="203"/>
                      </a:cubicBezTo>
                      <a:cubicBezTo>
                        <a:pt x="253" y="217"/>
                        <a:pt x="268" y="226"/>
                        <a:pt x="285" y="226"/>
                      </a:cubicBezTo>
                      <a:cubicBezTo>
                        <a:pt x="286" y="226"/>
                        <a:pt x="287" y="226"/>
                        <a:pt x="288" y="226"/>
                      </a:cubicBezTo>
                      <a:cubicBezTo>
                        <a:pt x="304" y="225"/>
                        <a:pt x="318" y="216"/>
                        <a:pt x="325" y="203"/>
                      </a:cubicBezTo>
                      <a:cubicBezTo>
                        <a:pt x="332" y="219"/>
                        <a:pt x="349" y="230"/>
                        <a:pt x="367" y="230"/>
                      </a:cubicBezTo>
                      <a:cubicBezTo>
                        <a:pt x="368" y="230"/>
                        <a:pt x="369" y="230"/>
                        <a:pt x="370" y="230"/>
                      </a:cubicBezTo>
                      <a:cubicBezTo>
                        <a:pt x="392" y="228"/>
                        <a:pt x="409" y="212"/>
                        <a:pt x="412" y="192"/>
                      </a:cubicBezTo>
                      <a:cubicBezTo>
                        <a:pt x="419" y="194"/>
                        <a:pt x="424" y="195"/>
                        <a:pt x="430" y="195"/>
                      </a:cubicBezTo>
                      <a:cubicBezTo>
                        <a:pt x="438" y="195"/>
                        <a:pt x="446" y="192"/>
                        <a:pt x="451" y="187"/>
                      </a:cubicBezTo>
                      <a:cubicBezTo>
                        <a:pt x="461" y="178"/>
                        <a:pt x="464" y="163"/>
                        <a:pt x="459" y="145"/>
                      </a:cubicBezTo>
                      <a:cubicBezTo>
                        <a:pt x="463" y="146"/>
                        <a:pt x="467" y="146"/>
                        <a:pt x="471" y="146"/>
                      </a:cubicBezTo>
                      <a:cubicBezTo>
                        <a:pt x="473" y="146"/>
                        <a:pt x="474" y="146"/>
                        <a:pt x="476" y="146"/>
                      </a:cubicBezTo>
                      <a:cubicBezTo>
                        <a:pt x="502" y="144"/>
                        <a:pt x="522" y="126"/>
                        <a:pt x="521" y="106"/>
                      </a:cubicBezTo>
                      <a:cubicBezTo>
                        <a:pt x="519" y="89"/>
                        <a:pt x="501" y="75"/>
                        <a:pt x="479" y="74"/>
                      </a:cubicBezTo>
                      <a:cubicBezTo>
                        <a:pt x="479" y="71"/>
                        <a:pt x="479" y="68"/>
                        <a:pt x="479" y="65"/>
                      </a:cubicBezTo>
                      <a:cubicBezTo>
                        <a:pt x="477" y="40"/>
                        <a:pt x="456" y="21"/>
                        <a:pt x="432" y="21"/>
                      </a:cubicBezTo>
                      <a:cubicBezTo>
                        <a:pt x="430" y="21"/>
                        <a:pt x="429" y="21"/>
                        <a:pt x="428" y="21"/>
                      </a:cubicBezTo>
                      <a:cubicBezTo>
                        <a:pt x="405" y="23"/>
                        <a:pt x="387" y="41"/>
                        <a:pt x="385" y="63"/>
                      </a:cubicBezTo>
                      <a:cubicBezTo>
                        <a:pt x="378" y="60"/>
                        <a:pt x="371" y="59"/>
                        <a:pt x="365" y="59"/>
                      </a:cubicBezTo>
                      <a:cubicBezTo>
                        <a:pt x="357" y="59"/>
                        <a:pt x="349" y="61"/>
                        <a:pt x="344" y="66"/>
                      </a:cubicBezTo>
                      <a:cubicBezTo>
                        <a:pt x="337" y="73"/>
                        <a:pt x="333" y="82"/>
                        <a:pt x="334" y="94"/>
                      </a:cubicBezTo>
                      <a:cubicBezTo>
                        <a:pt x="329" y="92"/>
                        <a:pt x="324" y="91"/>
                        <a:pt x="319" y="91"/>
                      </a:cubicBezTo>
                      <a:cubicBezTo>
                        <a:pt x="318" y="91"/>
                        <a:pt x="317" y="91"/>
                        <a:pt x="315" y="92"/>
                      </a:cubicBezTo>
                      <a:cubicBezTo>
                        <a:pt x="312" y="92"/>
                        <a:pt x="308" y="92"/>
                        <a:pt x="305" y="94"/>
                      </a:cubicBezTo>
                      <a:cubicBezTo>
                        <a:pt x="297" y="80"/>
                        <a:pt x="282" y="71"/>
                        <a:pt x="265" y="71"/>
                      </a:cubicBezTo>
                      <a:cubicBezTo>
                        <a:pt x="264" y="71"/>
                        <a:pt x="263" y="71"/>
                        <a:pt x="262" y="71"/>
                      </a:cubicBezTo>
                      <a:cubicBezTo>
                        <a:pt x="258" y="71"/>
                        <a:pt x="255" y="72"/>
                        <a:pt x="252" y="73"/>
                      </a:cubicBezTo>
                      <a:cubicBezTo>
                        <a:pt x="252" y="69"/>
                        <a:pt x="252" y="65"/>
                        <a:pt x="252" y="61"/>
                      </a:cubicBezTo>
                      <a:cubicBezTo>
                        <a:pt x="249" y="26"/>
                        <a:pt x="220" y="0"/>
                        <a:pt x="185" y="0"/>
                      </a:cubicBezTo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146" name="Group 54"/>
              <p:cNvGrpSpPr>
                <a:grpSpLocks noChangeAspect="1"/>
              </p:cNvGrpSpPr>
              <p:nvPr/>
            </p:nvGrpSpPr>
            <p:grpSpPr bwMode="auto">
              <a:xfrm>
                <a:off x="9264955" y="2445546"/>
                <a:ext cx="1857376" cy="942976"/>
                <a:chOff x="5789" y="1553"/>
                <a:chExt cx="1170" cy="594"/>
              </a:xfrm>
            </p:grpSpPr>
            <p:sp>
              <p:nvSpPr>
                <p:cNvPr id="147" name="AutoShape 53"/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5984" y="1558"/>
                  <a:ext cx="975" cy="58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8" name="Freeform 55"/>
                <p:cNvSpPr>
                  <a:spLocks/>
                </p:cNvSpPr>
                <p:nvPr/>
              </p:nvSpPr>
              <p:spPr bwMode="auto">
                <a:xfrm>
                  <a:off x="5789" y="1553"/>
                  <a:ext cx="985" cy="585"/>
                </a:xfrm>
                <a:custGeom>
                  <a:avLst/>
                  <a:gdLst>
                    <a:gd name="T0" fmla="*/ 342 w 579"/>
                    <a:gd name="T1" fmla="*/ 0 h 343"/>
                    <a:gd name="T2" fmla="*/ 281 w 579"/>
                    <a:gd name="T3" fmla="*/ 36 h 343"/>
                    <a:gd name="T4" fmla="*/ 250 w 579"/>
                    <a:gd name="T5" fmla="*/ 25 h 343"/>
                    <a:gd name="T6" fmla="*/ 236 w 579"/>
                    <a:gd name="T7" fmla="*/ 24 h 343"/>
                    <a:gd name="T8" fmla="*/ 149 w 579"/>
                    <a:gd name="T9" fmla="*/ 86 h 343"/>
                    <a:gd name="T10" fmla="*/ 131 w 579"/>
                    <a:gd name="T11" fmla="*/ 81 h 343"/>
                    <a:gd name="T12" fmla="*/ 120 w 579"/>
                    <a:gd name="T13" fmla="*/ 80 h 343"/>
                    <a:gd name="T14" fmla="*/ 44 w 579"/>
                    <a:gd name="T15" fmla="*/ 146 h 343"/>
                    <a:gd name="T16" fmla="*/ 45 w 579"/>
                    <a:gd name="T17" fmla="*/ 176 h 343"/>
                    <a:gd name="T18" fmla="*/ 4 w 579"/>
                    <a:gd name="T19" fmla="*/ 216 h 343"/>
                    <a:gd name="T20" fmla="*/ 43 w 579"/>
                    <a:gd name="T21" fmla="*/ 269 h 343"/>
                    <a:gd name="T22" fmla="*/ 50 w 579"/>
                    <a:gd name="T23" fmla="*/ 269 h 343"/>
                    <a:gd name="T24" fmla="*/ 56 w 579"/>
                    <a:gd name="T25" fmla="*/ 269 h 343"/>
                    <a:gd name="T26" fmla="*/ 121 w 579"/>
                    <a:gd name="T27" fmla="*/ 333 h 343"/>
                    <a:gd name="T28" fmla="*/ 133 w 579"/>
                    <a:gd name="T29" fmla="*/ 333 h 343"/>
                    <a:gd name="T30" fmla="*/ 188 w 579"/>
                    <a:gd name="T31" fmla="*/ 310 h 343"/>
                    <a:gd name="T32" fmla="*/ 261 w 579"/>
                    <a:gd name="T33" fmla="*/ 343 h 343"/>
                    <a:gd name="T34" fmla="*/ 323 w 579"/>
                    <a:gd name="T35" fmla="*/ 325 h 343"/>
                    <a:gd name="T36" fmla="*/ 379 w 579"/>
                    <a:gd name="T37" fmla="*/ 244 h 343"/>
                    <a:gd name="T38" fmla="*/ 401 w 579"/>
                    <a:gd name="T39" fmla="*/ 254 h 343"/>
                    <a:gd name="T40" fmla="*/ 408 w 579"/>
                    <a:gd name="T41" fmla="*/ 254 h 343"/>
                    <a:gd name="T42" fmla="*/ 452 w 579"/>
                    <a:gd name="T43" fmla="*/ 220 h 343"/>
                    <a:gd name="T44" fmla="*/ 470 w 579"/>
                    <a:gd name="T45" fmla="*/ 226 h 343"/>
                    <a:gd name="T46" fmla="*/ 477 w 579"/>
                    <a:gd name="T47" fmla="*/ 227 h 343"/>
                    <a:gd name="T48" fmla="*/ 517 w 579"/>
                    <a:gd name="T49" fmla="*/ 202 h 343"/>
                    <a:gd name="T50" fmla="*/ 542 w 579"/>
                    <a:gd name="T51" fmla="*/ 221 h 343"/>
                    <a:gd name="T52" fmla="*/ 546 w 579"/>
                    <a:gd name="T53" fmla="*/ 221 h 343"/>
                    <a:gd name="T54" fmla="*/ 577 w 579"/>
                    <a:gd name="T55" fmla="*/ 194 h 343"/>
                    <a:gd name="T56" fmla="*/ 568 w 579"/>
                    <a:gd name="T57" fmla="*/ 168 h 343"/>
                    <a:gd name="T58" fmla="*/ 570 w 579"/>
                    <a:gd name="T59" fmla="*/ 162 h 343"/>
                    <a:gd name="T60" fmla="*/ 552 w 579"/>
                    <a:gd name="T61" fmla="*/ 137 h 343"/>
                    <a:gd name="T62" fmla="*/ 549 w 579"/>
                    <a:gd name="T63" fmla="*/ 137 h 343"/>
                    <a:gd name="T64" fmla="*/ 536 w 579"/>
                    <a:gd name="T65" fmla="*/ 142 h 343"/>
                    <a:gd name="T66" fmla="*/ 533 w 579"/>
                    <a:gd name="T67" fmla="*/ 140 h 343"/>
                    <a:gd name="T68" fmla="*/ 496 w 579"/>
                    <a:gd name="T69" fmla="*/ 104 h 343"/>
                    <a:gd name="T70" fmla="*/ 490 w 579"/>
                    <a:gd name="T71" fmla="*/ 103 h 343"/>
                    <a:gd name="T72" fmla="*/ 469 w 579"/>
                    <a:gd name="T73" fmla="*/ 109 h 343"/>
                    <a:gd name="T74" fmla="*/ 429 w 579"/>
                    <a:gd name="T75" fmla="*/ 59 h 343"/>
                    <a:gd name="T76" fmla="*/ 423 w 579"/>
                    <a:gd name="T77" fmla="*/ 59 h 343"/>
                    <a:gd name="T78" fmla="*/ 413 w 579"/>
                    <a:gd name="T79" fmla="*/ 60 h 343"/>
                    <a:gd name="T80" fmla="*/ 353 w 579"/>
                    <a:gd name="T81" fmla="*/ 1 h 343"/>
                    <a:gd name="T82" fmla="*/ 342 w 579"/>
                    <a:gd name="T83" fmla="*/ 0 h 3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579" h="343">
                      <a:moveTo>
                        <a:pt x="342" y="0"/>
                      </a:moveTo>
                      <a:cubicBezTo>
                        <a:pt x="317" y="0"/>
                        <a:pt x="293" y="14"/>
                        <a:pt x="281" y="36"/>
                      </a:cubicBezTo>
                      <a:cubicBezTo>
                        <a:pt x="272" y="30"/>
                        <a:pt x="261" y="27"/>
                        <a:pt x="250" y="25"/>
                      </a:cubicBezTo>
                      <a:cubicBezTo>
                        <a:pt x="245" y="25"/>
                        <a:pt x="241" y="24"/>
                        <a:pt x="236" y="24"/>
                      </a:cubicBezTo>
                      <a:cubicBezTo>
                        <a:pt x="197" y="24"/>
                        <a:pt x="162" y="49"/>
                        <a:pt x="149" y="86"/>
                      </a:cubicBezTo>
                      <a:cubicBezTo>
                        <a:pt x="143" y="83"/>
                        <a:pt x="137" y="82"/>
                        <a:pt x="131" y="81"/>
                      </a:cubicBezTo>
                      <a:cubicBezTo>
                        <a:pt x="127" y="80"/>
                        <a:pt x="124" y="80"/>
                        <a:pt x="120" y="80"/>
                      </a:cubicBezTo>
                      <a:cubicBezTo>
                        <a:pt x="82" y="80"/>
                        <a:pt x="49" y="108"/>
                        <a:pt x="44" y="146"/>
                      </a:cubicBezTo>
                      <a:cubicBezTo>
                        <a:pt x="42" y="156"/>
                        <a:pt x="43" y="167"/>
                        <a:pt x="45" y="176"/>
                      </a:cubicBezTo>
                      <a:cubicBezTo>
                        <a:pt x="24" y="178"/>
                        <a:pt x="7" y="194"/>
                        <a:pt x="4" y="216"/>
                      </a:cubicBezTo>
                      <a:cubicBezTo>
                        <a:pt x="0" y="241"/>
                        <a:pt x="18" y="265"/>
                        <a:pt x="43" y="269"/>
                      </a:cubicBezTo>
                      <a:cubicBezTo>
                        <a:pt x="45" y="269"/>
                        <a:pt x="48" y="269"/>
                        <a:pt x="50" y="269"/>
                      </a:cubicBezTo>
                      <a:cubicBezTo>
                        <a:pt x="52" y="269"/>
                        <a:pt x="54" y="269"/>
                        <a:pt x="56" y="269"/>
                      </a:cubicBezTo>
                      <a:cubicBezTo>
                        <a:pt x="62" y="301"/>
                        <a:pt x="87" y="328"/>
                        <a:pt x="121" y="333"/>
                      </a:cubicBezTo>
                      <a:cubicBezTo>
                        <a:pt x="125" y="333"/>
                        <a:pt x="129" y="333"/>
                        <a:pt x="133" y="333"/>
                      </a:cubicBezTo>
                      <a:cubicBezTo>
                        <a:pt x="154" y="333"/>
                        <a:pt x="173" y="325"/>
                        <a:pt x="188" y="310"/>
                      </a:cubicBezTo>
                      <a:cubicBezTo>
                        <a:pt x="205" y="331"/>
                        <a:pt x="232" y="343"/>
                        <a:pt x="261" y="343"/>
                      </a:cubicBezTo>
                      <a:cubicBezTo>
                        <a:pt x="282" y="343"/>
                        <a:pt x="303" y="337"/>
                        <a:pt x="323" y="325"/>
                      </a:cubicBezTo>
                      <a:cubicBezTo>
                        <a:pt x="355" y="306"/>
                        <a:pt x="375" y="276"/>
                        <a:pt x="379" y="244"/>
                      </a:cubicBezTo>
                      <a:cubicBezTo>
                        <a:pt x="385" y="249"/>
                        <a:pt x="393" y="253"/>
                        <a:pt x="401" y="254"/>
                      </a:cubicBezTo>
                      <a:cubicBezTo>
                        <a:pt x="403" y="254"/>
                        <a:pt x="405" y="254"/>
                        <a:pt x="408" y="254"/>
                      </a:cubicBezTo>
                      <a:cubicBezTo>
                        <a:pt x="428" y="254"/>
                        <a:pt x="447" y="240"/>
                        <a:pt x="452" y="220"/>
                      </a:cubicBezTo>
                      <a:cubicBezTo>
                        <a:pt x="457" y="223"/>
                        <a:pt x="463" y="225"/>
                        <a:pt x="470" y="226"/>
                      </a:cubicBezTo>
                      <a:cubicBezTo>
                        <a:pt x="472" y="227"/>
                        <a:pt x="474" y="227"/>
                        <a:pt x="477" y="227"/>
                      </a:cubicBezTo>
                      <a:cubicBezTo>
                        <a:pt x="494" y="227"/>
                        <a:pt x="509" y="217"/>
                        <a:pt x="517" y="202"/>
                      </a:cubicBezTo>
                      <a:cubicBezTo>
                        <a:pt x="521" y="212"/>
                        <a:pt x="530" y="219"/>
                        <a:pt x="542" y="221"/>
                      </a:cubicBezTo>
                      <a:cubicBezTo>
                        <a:pt x="543" y="221"/>
                        <a:pt x="545" y="221"/>
                        <a:pt x="546" y="221"/>
                      </a:cubicBezTo>
                      <a:cubicBezTo>
                        <a:pt x="561" y="221"/>
                        <a:pt x="575" y="210"/>
                        <a:pt x="577" y="194"/>
                      </a:cubicBezTo>
                      <a:cubicBezTo>
                        <a:pt x="579" y="184"/>
                        <a:pt x="575" y="175"/>
                        <a:pt x="568" y="168"/>
                      </a:cubicBezTo>
                      <a:cubicBezTo>
                        <a:pt x="569" y="166"/>
                        <a:pt x="570" y="164"/>
                        <a:pt x="570" y="162"/>
                      </a:cubicBezTo>
                      <a:cubicBezTo>
                        <a:pt x="572" y="150"/>
                        <a:pt x="564" y="139"/>
                        <a:pt x="552" y="137"/>
                      </a:cubicBezTo>
                      <a:cubicBezTo>
                        <a:pt x="551" y="137"/>
                        <a:pt x="550" y="137"/>
                        <a:pt x="549" y="137"/>
                      </a:cubicBezTo>
                      <a:cubicBezTo>
                        <a:pt x="544" y="137"/>
                        <a:pt x="540" y="139"/>
                        <a:pt x="536" y="142"/>
                      </a:cubicBezTo>
                      <a:cubicBezTo>
                        <a:pt x="535" y="141"/>
                        <a:pt x="534" y="141"/>
                        <a:pt x="533" y="140"/>
                      </a:cubicBezTo>
                      <a:cubicBezTo>
                        <a:pt x="530" y="122"/>
                        <a:pt x="515" y="107"/>
                        <a:pt x="496" y="104"/>
                      </a:cubicBezTo>
                      <a:cubicBezTo>
                        <a:pt x="494" y="104"/>
                        <a:pt x="492" y="103"/>
                        <a:pt x="490" y="103"/>
                      </a:cubicBezTo>
                      <a:cubicBezTo>
                        <a:pt x="482" y="103"/>
                        <a:pt x="475" y="105"/>
                        <a:pt x="469" y="109"/>
                      </a:cubicBezTo>
                      <a:cubicBezTo>
                        <a:pt x="470" y="85"/>
                        <a:pt x="453" y="63"/>
                        <a:pt x="429" y="59"/>
                      </a:cubicBezTo>
                      <a:cubicBezTo>
                        <a:pt x="427" y="59"/>
                        <a:pt x="425" y="59"/>
                        <a:pt x="423" y="59"/>
                      </a:cubicBezTo>
                      <a:cubicBezTo>
                        <a:pt x="419" y="59"/>
                        <a:pt x="416" y="59"/>
                        <a:pt x="413" y="60"/>
                      </a:cubicBezTo>
                      <a:cubicBezTo>
                        <a:pt x="408" y="30"/>
                        <a:pt x="384" y="5"/>
                        <a:pt x="353" y="1"/>
                      </a:cubicBezTo>
                      <a:cubicBezTo>
                        <a:pt x="349" y="0"/>
                        <a:pt x="346" y="0"/>
                        <a:pt x="342" y="0"/>
                      </a:cubicBezTo>
                    </a:path>
                  </a:pathLst>
                </a:custGeom>
                <a:solidFill>
                  <a:srgbClr val="43403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>
                    <a:solidFill>
                      <a:prstClr val="black"/>
                    </a:solidFill>
                  </a:endParaRPr>
                </a:p>
              </p:txBody>
            </p:sp>
          </p:grpSp>
        </p:grpSp>
        <p:sp>
          <p:nvSpPr>
            <p:cNvPr id="65" name="Rechthoek 64"/>
            <p:cNvSpPr/>
            <p:nvPr/>
          </p:nvSpPr>
          <p:spPr>
            <a:xfrm>
              <a:off x="8966200" y="1739900"/>
              <a:ext cx="2527300" cy="2527300"/>
            </a:xfrm>
            <a:prstGeom prst="rect">
              <a:avLst/>
            </a:prstGeom>
            <a:noFill/>
            <a:ln w="635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prstClr val="white"/>
                </a:solidFill>
              </a:endParaRPr>
            </a:p>
          </p:txBody>
        </p:sp>
      </p:grpSp>
      <p:grpSp>
        <p:nvGrpSpPr>
          <p:cNvPr id="319" name="Groep 318"/>
          <p:cNvGrpSpPr/>
          <p:nvPr/>
        </p:nvGrpSpPr>
        <p:grpSpPr>
          <a:xfrm>
            <a:off x="4832350" y="1739900"/>
            <a:ext cx="2527300" cy="2527300"/>
            <a:chOff x="4832350" y="1739900"/>
            <a:chExt cx="2527300" cy="2527300"/>
          </a:xfrm>
        </p:grpSpPr>
        <p:sp>
          <p:nvSpPr>
            <p:cNvPr id="64" name="Rechthoek 63"/>
            <p:cNvSpPr/>
            <p:nvPr/>
          </p:nvSpPr>
          <p:spPr>
            <a:xfrm>
              <a:off x="4832350" y="1739900"/>
              <a:ext cx="2527300" cy="2527300"/>
            </a:xfrm>
            <a:prstGeom prst="rect">
              <a:avLst/>
            </a:prstGeom>
            <a:noFill/>
            <a:ln w="635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prstClr val="white"/>
                </a:solidFill>
              </a:endParaRPr>
            </a:p>
          </p:txBody>
        </p:sp>
        <p:grpSp>
          <p:nvGrpSpPr>
            <p:cNvPr id="97" name="Groep 96"/>
            <p:cNvGrpSpPr/>
            <p:nvPr/>
          </p:nvGrpSpPr>
          <p:grpSpPr>
            <a:xfrm>
              <a:off x="4832350" y="2021682"/>
              <a:ext cx="2406651" cy="1963737"/>
              <a:chOff x="709607" y="1935163"/>
              <a:chExt cx="2406651" cy="1963737"/>
            </a:xfrm>
          </p:grpSpPr>
          <p:sp>
            <p:nvSpPr>
              <p:cNvPr id="98" name="Freeform 6"/>
              <p:cNvSpPr>
                <a:spLocks/>
              </p:cNvSpPr>
              <p:nvPr/>
            </p:nvSpPr>
            <p:spPr bwMode="auto">
              <a:xfrm>
                <a:off x="855657" y="2170113"/>
                <a:ext cx="36513" cy="25400"/>
              </a:xfrm>
              <a:custGeom>
                <a:avLst/>
                <a:gdLst>
                  <a:gd name="T0" fmla="*/ 0 w 31"/>
                  <a:gd name="T1" fmla="*/ 13 h 22"/>
                  <a:gd name="T2" fmla="*/ 28 w 31"/>
                  <a:gd name="T3" fmla="*/ 20 h 22"/>
                  <a:gd name="T4" fmla="*/ 30 w 31"/>
                  <a:gd name="T5" fmla="*/ 8 h 22"/>
                  <a:gd name="T6" fmla="*/ 0 w 31"/>
                  <a:gd name="T7" fmla="*/ 13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" h="22">
                    <a:moveTo>
                      <a:pt x="0" y="13"/>
                    </a:moveTo>
                    <a:cubicBezTo>
                      <a:pt x="7" y="18"/>
                      <a:pt x="21" y="22"/>
                      <a:pt x="28" y="20"/>
                    </a:cubicBezTo>
                    <a:cubicBezTo>
                      <a:pt x="29" y="16"/>
                      <a:pt x="31" y="13"/>
                      <a:pt x="30" y="8"/>
                    </a:cubicBezTo>
                    <a:cubicBezTo>
                      <a:pt x="22" y="1"/>
                      <a:pt x="2" y="0"/>
                      <a:pt x="0" y="13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99" name="Freeform 7"/>
              <p:cNvSpPr>
                <a:spLocks/>
              </p:cNvSpPr>
              <p:nvPr/>
            </p:nvSpPr>
            <p:spPr bwMode="auto">
              <a:xfrm>
                <a:off x="1230307" y="2298700"/>
                <a:ext cx="74613" cy="71438"/>
              </a:xfrm>
              <a:custGeom>
                <a:avLst/>
                <a:gdLst>
                  <a:gd name="T0" fmla="*/ 12 w 62"/>
                  <a:gd name="T1" fmla="*/ 1 h 61"/>
                  <a:gd name="T2" fmla="*/ 0 w 62"/>
                  <a:gd name="T3" fmla="*/ 58 h 61"/>
                  <a:gd name="T4" fmla="*/ 58 w 62"/>
                  <a:gd name="T5" fmla="*/ 60 h 61"/>
                  <a:gd name="T6" fmla="*/ 51 w 62"/>
                  <a:gd name="T7" fmla="*/ 5 h 61"/>
                  <a:gd name="T8" fmla="*/ 12 w 62"/>
                  <a:gd name="T9" fmla="*/ 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2" h="61">
                    <a:moveTo>
                      <a:pt x="12" y="1"/>
                    </a:moveTo>
                    <a:cubicBezTo>
                      <a:pt x="5" y="14"/>
                      <a:pt x="3" y="36"/>
                      <a:pt x="0" y="58"/>
                    </a:cubicBezTo>
                    <a:cubicBezTo>
                      <a:pt x="19" y="60"/>
                      <a:pt x="40" y="61"/>
                      <a:pt x="58" y="60"/>
                    </a:cubicBezTo>
                    <a:cubicBezTo>
                      <a:pt x="62" y="42"/>
                      <a:pt x="55" y="21"/>
                      <a:pt x="51" y="5"/>
                    </a:cubicBezTo>
                    <a:cubicBezTo>
                      <a:pt x="42" y="0"/>
                      <a:pt x="28" y="0"/>
                      <a:pt x="12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00" name="Freeform 8"/>
              <p:cNvSpPr>
                <a:spLocks/>
              </p:cNvSpPr>
              <p:nvPr/>
            </p:nvSpPr>
            <p:spPr bwMode="auto">
              <a:xfrm>
                <a:off x="1606545" y="2366963"/>
                <a:ext cx="125413" cy="38100"/>
              </a:xfrm>
              <a:custGeom>
                <a:avLst/>
                <a:gdLst>
                  <a:gd name="T0" fmla="*/ 2 w 105"/>
                  <a:gd name="T1" fmla="*/ 10 h 32"/>
                  <a:gd name="T2" fmla="*/ 0 w 105"/>
                  <a:gd name="T3" fmla="*/ 15 h 32"/>
                  <a:gd name="T4" fmla="*/ 85 w 105"/>
                  <a:gd name="T5" fmla="*/ 21 h 32"/>
                  <a:gd name="T6" fmla="*/ 105 w 105"/>
                  <a:gd name="T7" fmla="*/ 29 h 32"/>
                  <a:gd name="T8" fmla="*/ 2 w 105"/>
                  <a:gd name="T9" fmla="*/ 1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5" h="32">
                    <a:moveTo>
                      <a:pt x="2" y="10"/>
                    </a:moveTo>
                    <a:cubicBezTo>
                      <a:pt x="2" y="13"/>
                      <a:pt x="1" y="14"/>
                      <a:pt x="0" y="15"/>
                    </a:cubicBezTo>
                    <a:cubicBezTo>
                      <a:pt x="20" y="25"/>
                      <a:pt x="62" y="13"/>
                      <a:pt x="85" y="21"/>
                    </a:cubicBezTo>
                    <a:cubicBezTo>
                      <a:pt x="95" y="24"/>
                      <a:pt x="97" y="32"/>
                      <a:pt x="105" y="29"/>
                    </a:cubicBezTo>
                    <a:cubicBezTo>
                      <a:pt x="96" y="0"/>
                      <a:pt x="35" y="12"/>
                      <a:pt x="2" y="1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01" name="Freeform 9"/>
              <p:cNvSpPr>
                <a:spLocks/>
              </p:cNvSpPr>
              <p:nvPr/>
            </p:nvSpPr>
            <p:spPr bwMode="auto">
              <a:xfrm>
                <a:off x="1323970" y="2389188"/>
                <a:ext cx="31750" cy="17463"/>
              </a:xfrm>
              <a:custGeom>
                <a:avLst/>
                <a:gdLst>
                  <a:gd name="T0" fmla="*/ 3 w 27"/>
                  <a:gd name="T1" fmla="*/ 1 h 15"/>
                  <a:gd name="T2" fmla="*/ 0 w 27"/>
                  <a:gd name="T3" fmla="*/ 10 h 15"/>
                  <a:gd name="T4" fmla="*/ 18 w 27"/>
                  <a:gd name="T5" fmla="*/ 15 h 15"/>
                  <a:gd name="T6" fmla="*/ 23 w 27"/>
                  <a:gd name="T7" fmla="*/ 2 h 15"/>
                  <a:gd name="T8" fmla="*/ 3 w 27"/>
                  <a:gd name="T9" fmla="*/ 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15">
                    <a:moveTo>
                      <a:pt x="3" y="1"/>
                    </a:moveTo>
                    <a:cubicBezTo>
                      <a:pt x="2" y="3"/>
                      <a:pt x="2" y="8"/>
                      <a:pt x="0" y="10"/>
                    </a:cubicBezTo>
                    <a:cubicBezTo>
                      <a:pt x="6" y="12"/>
                      <a:pt x="11" y="15"/>
                      <a:pt x="18" y="15"/>
                    </a:cubicBezTo>
                    <a:cubicBezTo>
                      <a:pt x="18" y="9"/>
                      <a:pt x="27" y="7"/>
                      <a:pt x="23" y="2"/>
                    </a:cubicBezTo>
                    <a:cubicBezTo>
                      <a:pt x="13" y="5"/>
                      <a:pt x="14" y="0"/>
                      <a:pt x="3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02" name="Freeform 10"/>
              <p:cNvSpPr>
                <a:spLocks/>
              </p:cNvSpPr>
              <p:nvPr/>
            </p:nvSpPr>
            <p:spPr bwMode="auto">
              <a:xfrm>
                <a:off x="1882770" y="2538413"/>
                <a:ext cx="36513" cy="28575"/>
              </a:xfrm>
              <a:custGeom>
                <a:avLst/>
                <a:gdLst>
                  <a:gd name="T0" fmla="*/ 3 w 31"/>
                  <a:gd name="T1" fmla="*/ 18 h 24"/>
                  <a:gd name="T2" fmla="*/ 31 w 31"/>
                  <a:gd name="T3" fmla="*/ 14 h 24"/>
                  <a:gd name="T4" fmla="*/ 3 w 31"/>
                  <a:gd name="T5" fmla="*/ 18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1" h="24">
                    <a:moveTo>
                      <a:pt x="3" y="18"/>
                    </a:moveTo>
                    <a:cubicBezTo>
                      <a:pt x="13" y="20"/>
                      <a:pt x="27" y="24"/>
                      <a:pt x="31" y="14"/>
                    </a:cubicBezTo>
                    <a:cubicBezTo>
                      <a:pt x="27" y="5"/>
                      <a:pt x="0" y="0"/>
                      <a:pt x="3" y="18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03" name="Freeform 11"/>
              <p:cNvSpPr>
                <a:spLocks/>
              </p:cNvSpPr>
              <p:nvPr/>
            </p:nvSpPr>
            <p:spPr bwMode="auto">
              <a:xfrm>
                <a:off x="1333495" y="2614613"/>
                <a:ext cx="298450" cy="36513"/>
              </a:xfrm>
              <a:custGeom>
                <a:avLst/>
                <a:gdLst>
                  <a:gd name="T0" fmla="*/ 177 w 250"/>
                  <a:gd name="T1" fmla="*/ 12 h 30"/>
                  <a:gd name="T2" fmla="*/ 2 w 250"/>
                  <a:gd name="T3" fmla="*/ 7 h 30"/>
                  <a:gd name="T4" fmla="*/ 1 w 250"/>
                  <a:gd name="T5" fmla="*/ 11 h 30"/>
                  <a:gd name="T6" fmla="*/ 133 w 250"/>
                  <a:gd name="T7" fmla="*/ 17 h 30"/>
                  <a:gd name="T8" fmla="*/ 174 w 250"/>
                  <a:gd name="T9" fmla="*/ 21 h 30"/>
                  <a:gd name="T10" fmla="*/ 201 w 250"/>
                  <a:gd name="T11" fmla="*/ 17 h 30"/>
                  <a:gd name="T12" fmla="*/ 250 w 250"/>
                  <a:gd name="T13" fmla="*/ 16 h 30"/>
                  <a:gd name="T14" fmla="*/ 177 w 250"/>
                  <a:gd name="T15" fmla="*/ 12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0" h="30">
                    <a:moveTo>
                      <a:pt x="177" y="12"/>
                    </a:moveTo>
                    <a:cubicBezTo>
                      <a:pt x="121" y="14"/>
                      <a:pt x="50" y="0"/>
                      <a:pt x="2" y="7"/>
                    </a:cubicBezTo>
                    <a:cubicBezTo>
                      <a:pt x="1" y="8"/>
                      <a:pt x="0" y="9"/>
                      <a:pt x="1" y="11"/>
                    </a:cubicBezTo>
                    <a:cubicBezTo>
                      <a:pt x="39" y="18"/>
                      <a:pt x="88" y="14"/>
                      <a:pt x="133" y="17"/>
                    </a:cubicBezTo>
                    <a:cubicBezTo>
                      <a:pt x="147" y="17"/>
                      <a:pt x="161" y="21"/>
                      <a:pt x="174" y="21"/>
                    </a:cubicBezTo>
                    <a:cubicBezTo>
                      <a:pt x="183" y="21"/>
                      <a:pt x="192" y="17"/>
                      <a:pt x="201" y="17"/>
                    </a:cubicBezTo>
                    <a:cubicBezTo>
                      <a:pt x="216" y="17"/>
                      <a:pt x="239" y="30"/>
                      <a:pt x="250" y="16"/>
                    </a:cubicBezTo>
                    <a:cubicBezTo>
                      <a:pt x="226" y="5"/>
                      <a:pt x="196" y="11"/>
                      <a:pt x="177" y="12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04" name="Freeform 12"/>
              <p:cNvSpPr>
                <a:spLocks/>
              </p:cNvSpPr>
              <p:nvPr/>
            </p:nvSpPr>
            <p:spPr bwMode="auto">
              <a:xfrm>
                <a:off x="1863720" y="2722563"/>
                <a:ext cx="33338" cy="65088"/>
              </a:xfrm>
              <a:custGeom>
                <a:avLst/>
                <a:gdLst>
                  <a:gd name="T0" fmla="*/ 15 w 28"/>
                  <a:gd name="T1" fmla="*/ 31 h 55"/>
                  <a:gd name="T2" fmla="*/ 19 w 28"/>
                  <a:gd name="T3" fmla="*/ 29 h 55"/>
                  <a:gd name="T4" fmla="*/ 26 w 28"/>
                  <a:gd name="T5" fmla="*/ 32 h 55"/>
                  <a:gd name="T6" fmla="*/ 18 w 28"/>
                  <a:gd name="T7" fmla="*/ 55 h 55"/>
                  <a:gd name="T8" fmla="*/ 28 w 28"/>
                  <a:gd name="T9" fmla="*/ 46 h 55"/>
                  <a:gd name="T10" fmla="*/ 15 w 28"/>
                  <a:gd name="T11" fmla="*/ 31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55">
                    <a:moveTo>
                      <a:pt x="15" y="31"/>
                    </a:moveTo>
                    <a:cubicBezTo>
                      <a:pt x="17" y="31"/>
                      <a:pt x="17" y="29"/>
                      <a:pt x="19" y="29"/>
                    </a:cubicBezTo>
                    <a:cubicBezTo>
                      <a:pt x="22" y="30"/>
                      <a:pt x="20" y="34"/>
                      <a:pt x="26" y="32"/>
                    </a:cubicBezTo>
                    <a:cubicBezTo>
                      <a:pt x="15" y="0"/>
                      <a:pt x="0" y="43"/>
                      <a:pt x="18" y="55"/>
                    </a:cubicBezTo>
                    <a:cubicBezTo>
                      <a:pt x="24" y="55"/>
                      <a:pt x="26" y="51"/>
                      <a:pt x="28" y="46"/>
                    </a:cubicBezTo>
                    <a:cubicBezTo>
                      <a:pt x="20" y="45"/>
                      <a:pt x="18" y="38"/>
                      <a:pt x="15" y="3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05" name="Freeform 13"/>
              <p:cNvSpPr>
                <a:spLocks/>
              </p:cNvSpPr>
              <p:nvPr/>
            </p:nvSpPr>
            <p:spPr bwMode="auto">
              <a:xfrm>
                <a:off x="2417757" y="2749550"/>
                <a:ext cx="36513" cy="28575"/>
              </a:xfrm>
              <a:custGeom>
                <a:avLst/>
                <a:gdLst>
                  <a:gd name="T0" fmla="*/ 0 w 30"/>
                  <a:gd name="T1" fmla="*/ 17 h 23"/>
                  <a:gd name="T2" fmla="*/ 30 w 30"/>
                  <a:gd name="T3" fmla="*/ 11 h 23"/>
                  <a:gd name="T4" fmla="*/ 0 w 30"/>
                  <a:gd name="T5" fmla="*/ 1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23">
                    <a:moveTo>
                      <a:pt x="0" y="17"/>
                    </a:moveTo>
                    <a:cubicBezTo>
                      <a:pt x="7" y="23"/>
                      <a:pt x="29" y="21"/>
                      <a:pt x="30" y="11"/>
                    </a:cubicBezTo>
                    <a:cubicBezTo>
                      <a:pt x="19" y="11"/>
                      <a:pt x="0" y="0"/>
                      <a:pt x="0" y="17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06" name="Freeform 14"/>
              <p:cNvSpPr>
                <a:spLocks/>
              </p:cNvSpPr>
              <p:nvPr/>
            </p:nvSpPr>
            <p:spPr bwMode="auto">
              <a:xfrm>
                <a:off x="1154107" y="2787650"/>
                <a:ext cx="112713" cy="74613"/>
              </a:xfrm>
              <a:custGeom>
                <a:avLst/>
                <a:gdLst>
                  <a:gd name="T0" fmla="*/ 22 w 95"/>
                  <a:gd name="T1" fmla="*/ 5 h 62"/>
                  <a:gd name="T2" fmla="*/ 2 w 95"/>
                  <a:gd name="T3" fmla="*/ 60 h 62"/>
                  <a:gd name="T4" fmla="*/ 92 w 95"/>
                  <a:gd name="T5" fmla="*/ 58 h 62"/>
                  <a:gd name="T6" fmla="*/ 91 w 95"/>
                  <a:gd name="T7" fmla="*/ 1 h 62"/>
                  <a:gd name="T8" fmla="*/ 22 w 95"/>
                  <a:gd name="T9" fmla="*/ 5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5" h="62">
                    <a:moveTo>
                      <a:pt x="22" y="5"/>
                    </a:moveTo>
                    <a:cubicBezTo>
                      <a:pt x="8" y="20"/>
                      <a:pt x="0" y="30"/>
                      <a:pt x="2" y="60"/>
                    </a:cubicBezTo>
                    <a:cubicBezTo>
                      <a:pt x="32" y="52"/>
                      <a:pt x="59" y="62"/>
                      <a:pt x="92" y="58"/>
                    </a:cubicBezTo>
                    <a:cubicBezTo>
                      <a:pt x="95" y="38"/>
                      <a:pt x="95" y="19"/>
                      <a:pt x="91" y="1"/>
                    </a:cubicBezTo>
                    <a:cubicBezTo>
                      <a:pt x="68" y="4"/>
                      <a:pt x="41" y="0"/>
                      <a:pt x="22" y="5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07" name="Freeform 15"/>
              <p:cNvSpPr>
                <a:spLocks/>
              </p:cNvSpPr>
              <p:nvPr/>
            </p:nvSpPr>
            <p:spPr bwMode="auto">
              <a:xfrm>
                <a:off x="1284282" y="2868613"/>
                <a:ext cx="25400" cy="25400"/>
              </a:xfrm>
              <a:custGeom>
                <a:avLst/>
                <a:gdLst>
                  <a:gd name="T0" fmla="*/ 19 w 22"/>
                  <a:gd name="T1" fmla="*/ 1 h 22"/>
                  <a:gd name="T2" fmla="*/ 1 w 22"/>
                  <a:gd name="T3" fmla="*/ 6 h 22"/>
                  <a:gd name="T4" fmla="*/ 2 w 22"/>
                  <a:gd name="T5" fmla="*/ 22 h 22"/>
                  <a:gd name="T6" fmla="*/ 21 w 22"/>
                  <a:gd name="T7" fmla="*/ 15 h 22"/>
                  <a:gd name="T8" fmla="*/ 19 w 22"/>
                  <a:gd name="T9" fmla="*/ 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22">
                    <a:moveTo>
                      <a:pt x="19" y="1"/>
                    </a:moveTo>
                    <a:cubicBezTo>
                      <a:pt x="10" y="0"/>
                      <a:pt x="6" y="3"/>
                      <a:pt x="1" y="6"/>
                    </a:cubicBezTo>
                    <a:cubicBezTo>
                      <a:pt x="2" y="15"/>
                      <a:pt x="0" y="15"/>
                      <a:pt x="2" y="22"/>
                    </a:cubicBezTo>
                    <a:cubicBezTo>
                      <a:pt x="10" y="22"/>
                      <a:pt x="14" y="17"/>
                      <a:pt x="21" y="15"/>
                    </a:cubicBezTo>
                    <a:cubicBezTo>
                      <a:pt x="21" y="10"/>
                      <a:pt x="22" y="3"/>
                      <a:pt x="19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08" name="Freeform 16"/>
              <p:cNvSpPr>
                <a:spLocks/>
              </p:cNvSpPr>
              <p:nvPr/>
            </p:nvSpPr>
            <p:spPr bwMode="auto">
              <a:xfrm>
                <a:off x="1411282" y="2867025"/>
                <a:ext cx="33338" cy="22225"/>
              </a:xfrm>
              <a:custGeom>
                <a:avLst/>
                <a:gdLst>
                  <a:gd name="T0" fmla="*/ 0 w 28"/>
                  <a:gd name="T1" fmla="*/ 12 h 19"/>
                  <a:gd name="T2" fmla="*/ 25 w 28"/>
                  <a:gd name="T3" fmla="*/ 17 h 19"/>
                  <a:gd name="T4" fmla="*/ 27 w 28"/>
                  <a:gd name="T5" fmla="*/ 6 h 19"/>
                  <a:gd name="T6" fmla="*/ 0 w 28"/>
                  <a:gd name="T7" fmla="*/ 12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19">
                    <a:moveTo>
                      <a:pt x="0" y="12"/>
                    </a:moveTo>
                    <a:cubicBezTo>
                      <a:pt x="6" y="17"/>
                      <a:pt x="19" y="19"/>
                      <a:pt x="25" y="17"/>
                    </a:cubicBezTo>
                    <a:cubicBezTo>
                      <a:pt x="25" y="13"/>
                      <a:pt x="28" y="12"/>
                      <a:pt x="27" y="6"/>
                    </a:cubicBezTo>
                    <a:cubicBezTo>
                      <a:pt x="21" y="1"/>
                      <a:pt x="0" y="0"/>
                      <a:pt x="0" y="12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09" name="Freeform 17"/>
              <p:cNvSpPr>
                <a:spLocks/>
              </p:cNvSpPr>
              <p:nvPr/>
            </p:nvSpPr>
            <p:spPr bwMode="auto">
              <a:xfrm>
                <a:off x="2517770" y="2921000"/>
                <a:ext cx="42863" cy="28575"/>
              </a:xfrm>
              <a:custGeom>
                <a:avLst/>
                <a:gdLst>
                  <a:gd name="T0" fmla="*/ 0 w 37"/>
                  <a:gd name="T1" fmla="*/ 17 h 24"/>
                  <a:gd name="T2" fmla="*/ 37 w 37"/>
                  <a:gd name="T3" fmla="*/ 16 h 24"/>
                  <a:gd name="T4" fmla="*/ 0 w 37"/>
                  <a:gd name="T5" fmla="*/ 17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7" h="24">
                    <a:moveTo>
                      <a:pt x="0" y="17"/>
                    </a:moveTo>
                    <a:cubicBezTo>
                      <a:pt x="8" y="20"/>
                      <a:pt x="31" y="24"/>
                      <a:pt x="37" y="16"/>
                    </a:cubicBezTo>
                    <a:cubicBezTo>
                      <a:pt x="28" y="12"/>
                      <a:pt x="5" y="0"/>
                      <a:pt x="0" y="17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10" name="Freeform 18"/>
              <p:cNvSpPr>
                <a:spLocks/>
              </p:cNvSpPr>
              <p:nvPr/>
            </p:nvSpPr>
            <p:spPr bwMode="auto">
              <a:xfrm>
                <a:off x="2684457" y="2927350"/>
                <a:ext cx="46038" cy="23813"/>
              </a:xfrm>
              <a:custGeom>
                <a:avLst/>
                <a:gdLst>
                  <a:gd name="T0" fmla="*/ 7 w 39"/>
                  <a:gd name="T1" fmla="*/ 17 h 20"/>
                  <a:gd name="T2" fmla="*/ 39 w 39"/>
                  <a:gd name="T3" fmla="*/ 9 h 20"/>
                  <a:gd name="T4" fmla="*/ 7 w 39"/>
                  <a:gd name="T5" fmla="*/ 17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9" h="20">
                    <a:moveTo>
                      <a:pt x="7" y="17"/>
                    </a:moveTo>
                    <a:cubicBezTo>
                      <a:pt x="17" y="20"/>
                      <a:pt x="38" y="20"/>
                      <a:pt x="39" y="9"/>
                    </a:cubicBezTo>
                    <a:cubicBezTo>
                      <a:pt x="29" y="7"/>
                      <a:pt x="0" y="0"/>
                      <a:pt x="7" y="17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11" name="Freeform 19"/>
              <p:cNvSpPr>
                <a:spLocks/>
              </p:cNvSpPr>
              <p:nvPr/>
            </p:nvSpPr>
            <p:spPr bwMode="auto">
              <a:xfrm>
                <a:off x="2220907" y="2946400"/>
                <a:ext cx="39688" cy="14288"/>
              </a:xfrm>
              <a:custGeom>
                <a:avLst/>
                <a:gdLst>
                  <a:gd name="T0" fmla="*/ 0 w 34"/>
                  <a:gd name="T1" fmla="*/ 10 h 12"/>
                  <a:gd name="T2" fmla="*/ 34 w 34"/>
                  <a:gd name="T3" fmla="*/ 11 h 12"/>
                  <a:gd name="T4" fmla="*/ 0 w 34"/>
                  <a:gd name="T5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4" h="12">
                    <a:moveTo>
                      <a:pt x="0" y="10"/>
                    </a:moveTo>
                    <a:cubicBezTo>
                      <a:pt x="10" y="12"/>
                      <a:pt x="26" y="11"/>
                      <a:pt x="34" y="11"/>
                    </a:cubicBezTo>
                    <a:cubicBezTo>
                      <a:pt x="31" y="0"/>
                      <a:pt x="6" y="1"/>
                      <a:pt x="0" y="1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12" name="Freeform 20"/>
              <p:cNvSpPr>
                <a:spLocks/>
              </p:cNvSpPr>
              <p:nvPr/>
            </p:nvSpPr>
            <p:spPr bwMode="auto">
              <a:xfrm>
                <a:off x="1868482" y="2967038"/>
                <a:ext cx="34925" cy="22225"/>
              </a:xfrm>
              <a:custGeom>
                <a:avLst/>
                <a:gdLst>
                  <a:gd name="T0" fmla="*/ 28 w 29"/>
                  <a:gd name="T1" fmla="*/ 0 h 18"/>
                  <a:gd name="T2" fmla="*/ 0 w 29"/>
                  <a:gd name="T3" fmla="*/ 13 h 18"/>
                  <a:gd name="T4" fmla="*/ 29 w 29"/>
                  <a:gd name="T5" fmla="*/ 18 h 18"/>
                  <a:gd name="T6" fmla="*/ 28 w 29"/>
                  <a:gd name="T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18">
                    <a:moveTo>
                      <a:pt x="28" y="0"/>
                    </a:moveTo>
                    <a:cubicBezTo>
                      <a:pt x="14" y="0"/>
                      <a:pt x="0" y="0"/>
                      <a:pt x="0" y="13"/>
                    </a:cubicBezTo>
                    <a:cubicBezTo>
                      <a:pt x="13" y="16"/>
                      <a:pt x="18" y="14"/>
                      <a:pt x="29" y="18"/>
                    </a:cubicBezTo>
                    <a:cubicBezTo>
                      <a:pt x="27" y="9"/>
                      <a:pt x="28" y="10"/>
                      <a:pt x="28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13" name="Freeform 21"/>
              <p:cNvSpPr>
                <a:spLocks/>
              </p:cNvSpPr>
              <p:nvPr/>
            </p:nvSpPr>
            <p:spPr bwMode="auto">
              <a:xfrm>
                <a:off x="2114545" y="3092450"/>
                <a:ext cx="84138" cy="92075"/>
              </a:xfrm>
              <a:custGeom>
                <a:avLst/>
                <a:gdLst>
                  <a:gd name="T0" fmla="*/ 64 w 70"/>
                  <a:gd name="T1" fmla="*/ 15 h 78"/>
                  <a:gd name="T2" fmla="*/ 13 w 70"/>
                  <a:gd name="T3" fmla="*/ 52 h 78"/>
                  <a:gd name="T4" fmla="*/ 5 w 70"/>
                  <a:gd name="T5" fmla="*/ 63 h 78"/>
                  <a:gd name="T6" fmla="*/ 14 w 70"/>
                  <a:gd name="T7" fmla="*/ 63 h 78"/>
                  <a:gd name="T8" fmla="*/ 16 w 70"/>
                  <a:gd name="T9" fmla="*/ 77 h 78"/>
                  <a:gd name="T10" fmla="*/ 62 w 70"/>
                  <a:gd name="T11" fmla="*/ 77 h 78"/>
                  <a:gd name="T12" fmla="*/ 64 w 70"/>
                  <a:gd name="T13" fmla="*/ 15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0" h="78">
                    <a:moveTo>
                      <a:pt x="64" y="15"/>
                    </a:moveTo>
                    <a:cubicBezTo>
                      <a:pt x="42" y="0"/>
                      <a:pt x="0" y="15"/>
                      <a:pt x="13" y="52"/>
                    </a:cubicBezTo>
                    <a:cubicBezTo>
                      <a:pt x="6" y="51"/>
                      <a:pt x="3" y="55"/>
                      <a:pt x="5" y="63"/>
                    </a:cubicBezTo>
                    <a:cubicBezTo>
                      <a:pt x="8" y="69"/>
                      <a:pt x="12" y="58"/>
                      <a:pt x="14" y="63"/>
                    </a:cubicBezTo>
                    <a:cubicBezTo>
                      <a:pt x="14" y="68"/>
                      <a:pt x="13" y="74"/>
                      <a:pt x="16" y="77"/>
                    </a:cubicBezTo>
                    <a:cubicBezTo>
                      <a:pt x="34" y="78"/>
                      <a:pt x="46" y="75"/>
                      <a:pt x="62" y="77"/>
                    </a:cubicBezTo>
                    <a:cubicBezTo>
                      <a:pt x="70" y="57"/>
                      <a:pt x="56" y="36"/>
                      <a:pt x="64" y="15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14" name="Freeform 22"/>
              <p:cNvSpPr>
                <a:spLocks/>
              </p:cNvSpPr>
              <p:nvPr/>
            </p:nvSpPr>
            <p:spPr bwMode="auto">
              <a:xfrm>
                <a:off x="1279520" y="3121025"/>
                <a:ext cx="46038" cy="39688"/>
              </a:xfrm>
              <a:custGeom>
                <a:avLst/>
                <a:gdLst>
                  <a:gd name="T0" fmla="*/ 2 w 39"/>
                  <a:gd name="T1" fmla="*/ 24 h 33"/>
                  <a:gd name="T2" fmla="*/ 35 w 39"/>
                  <a:gd name="T3" fmla="*/ 11 h 33"/>
                  <a:gd name="T4" fmla="*/ 2 w 39"/>
                  <a:gd name="T5" fmla="*/ 2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9" h="33">
                    <a:moveTo>
                      <a:pt x="2" y="24"/>
                    </a:moveTo>
                    <a:cubicBezTo>
                      <a:pt x="15" y="30"/>
                      <a:pt x="39" y="33"/>
                      <a:pt x="35" y="11"/>
                    </a:cubicBezTo>
                    <a:cubicBezTo>
                      <a:pt x="27" y="16"/>
                      <a:pt x="0" y="0"/>
                      <a:pt x="2" y="24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15" name="Freeform 23"/>
              <p:cNvSpPr>
                <a:spLocks/>
              </p:cNvSpPr>
              <p:nvPr/>
            </p:nvSpPr>
            <p:spPr bwMode="auto">
              <a:xfrm>
                <a:off x="2217732" y="3194050"/>
                <a:ext cx="39688" cy="25400"/>
              </a:xfrm>
              <a:custGeom>
                <a:avLst/>
                <a:gdLst>
                  <a:gd name="T0" fmla="*/ 0 w 33"/>
                  <a:gd name="T1" fmla="*/ 12 h 21"/>
                  <a:gd name="T2" fmla="*/ 25 w 33"/>
                  <a:gd name="T3" fmla="*/ 17 h 21"/>
                  <a:gd name="T4" fmla="*/ 0 w 33"/>
                  <a:gd name="T5" fmla="*/ 12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3" h="21">
                    <a:moveTo>
                      <a:pt x="0" y="12"/>
                    </a:moveTo>
                    <a:cubicBezTo>
                      <a:pt x="5" y="21"/>
                      <a:pt x="14" y="14"/>
                      <a:pt x="25" y="17"/>
                    </a:cubicBezTo>
                    <a:cubicBezTo>
                      <a:pt x="33" y="0"/>
                      <a:pt x="3" y="0"/>
                      <a:pt x="0" y="12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16" name="Freeform 24"/>
              <p:cNvSpPr>
                <a:spLocks/>
              </p:cNvSpPr>
              <p:nvPr/>
            </p:nvSpPr>
            <p:spPr bwMode="auto">
              <a:xfrm>
                <a:off x="2357432" y="3194050"/>
                <a:ext cx="44450" cy="33338"/>
              </a:xfrm>
              <a:custGeom>
                <a:avLst/>
                <a:gdLst>
                  <a:gd name="T0" fmla="*/ 0 w 37"/>
                  <a:gd name="T1" fmla="*/ 20 h 28"/>
                  <a:gd name="T2" fmla="*/ 37 w 37"/>
                  <a:gd name="T3" fmla="*/ 17 h 28"/>
                  <a:gd name="T4" fmla="*/ 0 w 37"/>
                  <a:gd name="T5" fmla="*/ 2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7" h="28">
                    <a:moveTo>
                      <a:pt x="0" y="20"/>
                    </a:moveTo>
                    <a:cubicBezTo>
                      <a:pt x="8" y="28"/>
                      <a:pt x="28" y="21"/>
                      <a:pt x="37" y="17"/>
                    </a:cubicBezTo>
                    <a:cubicBezTo>
                      <a:pt x="33" y="0"/>
                      <a:pt x="6" y="8"/>
                      <a:pt x="0" y="2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17" name="Freeform 25"/>
              <p:cNvSpPr>
                <a:spLocks/>
              </p:cNvSpPr>
              <p:nvPr/>
            </p:nvSpPr>
            <p:spPr bwMode="auto">
              <a:xfrm>
                <a:off x="1789107" y="3348038"/>
                <a:ext cx="52388" cy="19050"/>
              </a:xfrm>
              <a:custGeom>
                <a:avLst/>
                <a:gdLst>
                  <a:gd name="T0" fmla="*/ 0 w 44"/>
                  <a:gd name="T1" fmla="*/ 9 h 16"/>
                  <a:gd name="T2" fmla="*/ 0 w 44"/>
                  <a:gd name="T3" fmla="*/ 16 h 16"/>
                  <a:gd name="T4" fmla="*/ 44 w 44"/>
                  <a:gd name="T5" fmla="*/ 15 h 16"/>
                  <a:gd name="T6" fmla="*/ 0 w 44"/>
                  <a:gd name="T7" fmla="*/ 9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4" h="16">
                    <a:moveTo>
                      <a:pt x="0" y="9"/>
                    </a:moveTo>
                    <a:cubicBezTo>
                      <a:pt x="0" y="11"/>
                      <a:pt x="0" y="14"/>
                      <a:pt x="0" y="16"/>
                    </a:cubicBezTo>
                    <a:cubicBezTo>
                      <a:pt x="17" y="16"/>
                      <a:pt x="29" y="12"/>
                      <a:pt x="44" y="15"/>
                    </a:cubicBezTo>
                    <a:cubicBezTo>
                      <a:pt x="41" y="0"/>
                      <a:pt x="14" y="8"/>
                      <a:pt x="0" y="9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18" name="Freeform 26"/>
              <p:cNvSpPr>
                <a:spLocks/>
              </p:cNvSpPr>
              <p:nvPr/>
            </p:nvSpPr>
            <p:spPr bwMode="auto">
              <a:xfrm>
                <a:off x="1881182" y="3390900"/>
                <a:ext cx="25400" cy="19050"/>
              </a:xfrm>
              <a:custGeom>
                <a:avLst/>
                <a:gdLst>
                  <a:gd name="T0" fmla="*/ 0 w 22"/>
                  <a:gd name="T1" fmla="*/ 4 h 15"/>
                  <a:gd name="T2" fmla="*/ 21 w 22"/>
                  <a:gd name="T3" fmla="*/ 12 h 15"/>
                  <a:gd name="T4" fmla="*/ 21 w 22"/>
                  <a:gd name="T5" fmla="*/ 3 h 15"/>
                  <a:gd name="T6" fmla="*/ 0 w 22"/>
                  <a:gd name="T7" fmla="*/ 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15">
                    <a:moveTo>
                      <a:pt x="0" y="4"/>
                    </a:moveTo>
                    <a:cubicBezTo>
                      <a:pt x="3" y="12"/>
                      <a:pt x="11" y="15"/>
                      <a:pt x="21" y="12"/>
                    </a:cubicBezTo>
                    <a:cubicBezTo>
                      <a:pt x="22" y="7"/>
                      <a:pt x="22" y="9"/>
                      <a:pt x="21" y="3"/>
                    </a:cubicBezTo>
                    <a:cubicBezTo>
                      <a:pt x="11" y="4"/>
                      <a:pt x="8" y="0"/>
                      <a:pt x="0" y="4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19" name="Freeform 27"/>
              <p:cNvSpPr>
                <a:spLocks/>
              </p:cNvSpPr>
              <p:nvPr/>
            </p:nvSpPr>
            <p:spPr bwMode="auto">
              <a:xfrm>
                <a:off x="1978020" y="3390900"/>
                <a:ext cx="42863" cy="26988"/>
              </a:xfrm>
              <a:custGeom>
                <a:avLst/>
                <a:gdLst>
                  <a:gd name="T0" fmla="*/ 3 w 35"/>
                  <a:gd name="T1" fmla="*/ 6 h 23"/>
                  <a:gd name="T2" fmla="*/ 1 w 35"/>
                  <a:gd name="T3" fmla="*/ 19 h 23"/>
                  <a:gd name="T4" fmla="*/ 35 w 35"/>
                  <a:gd name="T5" fmla="*/ 9 h 23"/>
                  <a:gd name="T6" fmla="*/ 3 w 35"/>
                  <a:gd name="T7" fmla="*/ 6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5" h="23">
                    <a:moveTo>
                      <a:pt x="3" y="6"/>
                    </a:moveTo>
                    <a:cubicBezTo>
                      <a:pt x="4" y="12"/>
                      <a:pt x="0" y="13"/>
                      <a:pt x="1" y="19"/>
                    </a:cubicBezTo>
                    <a:cubicBezTo>
                      <a:pt x="13" y="23"/>
                      <a:pt x="27" y="15"/>
                      <a:pt x="35" y="9"/>
                    </a:cubicBezTo>
                    <a:cubicBezTo>
                      <a:pt x="30" y="0"/>
                      <a:pt x="12" y="5"/>
                      <a:pt x="3" y="6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20" name="Freeform 28"/>
              <p:cNvSpPr>
                <a:spLocks/>
              </p:cNvSpPr>
              <p:nvPr/>
            </p:nvSpPr>
            <p:spPr bwMode="auto">
              <a:xfrm>
                <a:off x="1647820" y="3467100"/>
                <a:ext cx="82550" cy="33338"/>
              </a:xfrm>
              <a:custGeom>
                <a:avLst/>
                <a:gdLst>
                  <a:gd name="T0" fmla="*/ 0 w 70"/>
                  <a:gd name="T1" fmla="*/ 15 h 27"/>
                  <a:gd name="T2" fmla="*/ 53 w 70"/>
                  <a:gd name="T3" fmla="*/ 17 h 27"/>
                  <a:gd name="T4" fmla="*/ 70 w 70"/>
                  <a:gd name="T5" fmla="*/ 22 h 27"/>
                  <a:gd name="T6" fmla="*/ 0 w 70"/>
                  <a:gd name="T7" fmla="*/ 15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0" h="27">
                    <a:moveTo>
                      <a:pt x="0" y="15"/>
                    </a:moveTo>
                    <a:cubicBezTo>
                      <a:pt x="13" y="25"/>
                      <a:pt x="31" y="15"/>
                      <a:pt x="53" y="17"/>
                    </a:cubicBezTo>
                    <a:cubicBezTo>
                      <a:pt x="59" y="18"/>
                      <a:pt x="64" y="27"/>
                      <a:pt x="70" y="22"/>
                    </a:cubicBezTo>
                    <a:cubicBezTo>
                      <a:pt x="64" y="0"/>
                      <a:pt x="19" y="10"/>
                      <a:pt x="0" y="15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21" name="Freeform 29"/>
              <p:cNvSpPr>
                <a:spLocks/>
              </p:cNvSpPr>
              <p:nvPr/>
            </p:nvSpPr>
            <p:spPr bwMode="auto">
              <a:xfrm>
                <a:off x="1338257" y="3492500"/>
                <a:ext cx="25400" cy="22225"/>
              </a:xfrm>
              <a:custGeom>
                <a:avLst/>
                <a:gdLst>
                  <a:gd name="T0" fmla="*/ 2 w 22"/>
                  <a:gd name="T1" fmla="*/ 14 h 18"/>
                  <a:gd name="T2" fmla="*/ 19 w 22"/>
                  <a:gd name="T3" fmla="*/ 15 h 18"/>
                  <a:gd name="T4" fmla="*/ 17 w 22"/>
                  <a:gd name="T5" fmla="*/ 1 h 18"/>
                  <a:gd name="T6" fmla="*/ 2 w 22"/>
                  <a:gd name="T7" fmla="*/ 14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18">
                    <a:moveTo>
                      <a:pt x="2" y="14"/>
                    </a:moveTo>
                    <a:cubicBezTo>
                      <a:pt x="7" y="18"/>
                      <a:pt x="10" y="15"/>
                      <a:pt x="19" y="15"/>
                    </a:cubicBezTo>
                    <a:cubicBezTo>
                      <a:pt x="22" y="9"/>
                      <a:pt x="20" y="5"/>
                      <a:pt x="17" y="1"/>
                    </a:cubicBezTo>
                    <a:cubicBezTo>
                      <a:pt x="6" y="0"/>
                      <a:pt x="0" y="3"/>
                      <a:pt x="2" y="14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22" name="Freeform 30"/>
              <p:cNvSpPr>
                <a:spLocks/>
              </p:cNvSpPr>
              <p:nvPr/>
            </p:nvSpPr>
            <p:spPr bwMode="auto">
              <a:xfrm>
                <a:off x="1911345" y="3484563"/>
                <a:ext cx="15875" cy="11113"/>
              </a:xfrm>
              <a:custGeom>
                <a:avLst/>
                <a:gdLst>
                  <a:gd name="T0" fmla="*/ 0 w 13"/>
                  <a:gd name="T1" fmla="*/ 5 h 9"/>
                  <a:gd name="T2" fmla="*/ 13 w 13"/>
                  <a:gd name="T3" fmla="*/ 3 h 9"/>
                  <a:gd name="T4" fmla="*/ 0 w 13"/>
                  <a:gd name="T5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9">
                    <a:moveTo>
                      <a:pt x="0" y="5"/>
                    </a:moveTo>
                    <a:cubicBezTo>
                      <a:pt x="7" y="3"/>
                      <a:pt x="12" y="9"/>
                      <a:pt x="13" y="3"/>
                    </a:cubicBezTo>
                    <a:cubicBezTo>
                      <a:pt x="10" y="0"/>
                      <a:pt x="2" y="1"/>
                      <a:pt x="0" y="5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23" name="Freeform 31"/>
              <p:cNvSpPr>
                <a:spLocks/>
              </p:cNvSpPr>
              <p:nvPr/>
            </p:nvSpPr>
            <p:spPr bwMode="auto">
              <a:xfrm>
                <a:off x="1423982" y="3495675"/>
                <a:ext cx="47625" cy="30163"/>
              </a:xfrm>
              <a:custGeom>
                <a:avLst/>
                <a:gdLst>
                  <a:gd name="T0" fmla="*/ 0 w 39"/>
                  <a:gd name="T1" fmla="*/ 11 h 24"/>
                  <a:gd name="T2" fmla="*/ 39 w 39"/>
                  <a:gd name="T3" fmla="*/ 17 h 24"/>
                  <a:gd name="T4" fmla="*/ 33 w 39"/>
                  <a:gd name="T5" fmla="*/ 5 h 24"/>
                  <a:gd name="T6" fmla="*/ 0 w 39"/>
                  <a:gd name="T7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9" h="24">
                    <a:moveTo>
                      <a:pt x="0" y="11"/>
                    </a:moveTo>
                    <a:cubicBezTo>
                      <a:pt x="2" y="23"/>
                      <a:pt x="29" y="24"/>
                      <a:pt x="39" y="17"/>
                    </a:cubicBezTo>
                    <a:cubicBezTo>
                      <a:pt x="38" y="12"/>
                      <a:pt x="34" y="10"/>
                      <a:pt x="33" y="5"/>
                    </a:cubicBezTo>
                    <a:cubicBezTo>
                      <a:pt x="22" y="11"/>
                      <a:pt x="5" y="0"/>
                      <a:pt x="0" y="1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24" name="Freeform 32"/>
              <p:cNvSpPr>
                <a:spLocks/>
              </p:cNvSpPr>
              <p:nvPr/>
            </p:nvSpPr>
            <p:spPr bwMode="auto">
              <a:xfrm>
                <a:off x="831845" y="3744913"/>
                <a:ext cx="33338" cy="17463"/>
              </a:xfrm>
              <a:custGeom>
                <a:avLst/>
                <a:gdLst>
                  <a:gd name="T0" fmla="*/ 0 w 29"/>
                  <a:gd name="T1" fmla="*/ 3 h 15"/>
                  <a:gd name="T2" fmla="*/ 0 w 29"/>
                  <a:gd name="T3" fmla="*/ 10 h 15"/>
                  <a:gd name="T4" fmla="*/ 27 w 29"/>
                  <a:gd name="T5" fmla="*/ 15 h 15"/>
                  <a:gd name="T6" fmla="*/ 28 w 29"/>
                  <a:gd name="T7" fmla="*/ 3 h 15"/>
                  <a:gd name="T8" fmla="*/ 0 w 29"/>
                  <a:gd name="T9" fmla="*/ 3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15">
                    <a:moveTo>
                      <a:pt x="0" y="3"/>
                    </a:moveTo>
                    <a:cubicBezTo>
                      <a:pt x="0" y="6"/>
                      <a:pt x="0" y="8"/>
                      <a:pt x="0" y="10"/>
                    </a:cubicBezTo>
                    <a:cubicBezTo>
                      <a:pt x="7" y="14"/>
                      <a:pt x="16" y="15"/>
                      <a:pt x="27" y="15"/>
                    </a:cubicBezTo>
                    <a:cubicBezTo>
                      <a:pt x="27" y="11"/>
                      <a:pt x="29" y="8"/>
                      <a:pt x="28" y="3"/>
                    </a:cubicBezTo>
                    <a:cubicBezTo>
                      <a:pt x="22" y="0"/>
                      <a:pt x="6" y="0"/>
                      <a:pt x="0" y="3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25" name="Freeform 33"/>
              <p:cNvSpPr>
                <a:spLocks/>
              </p:cNvSpPr>
              <p:nvPr/>
            </p:nvSpPr>
            <p:spPr bwMode="auto">
              <a:xfrm>
                <a:off x="709607" y="3735388"/>
                <a:ext cx="22225" cy="19050"/>
              </a:xfrm>
              <a:custGeom>
                <a:avLst/>
                <a:gdLst>
                  <a:gd name="T0" fmla="*/ 13 w 18"/>
                  <a:gd name="T1" fmla="*/ 14 h 16"/>
                  <a:gd name="T2" fmla="*/ 17 w 18"/>
                  <a:gd name="T3" fmla="*/ 3 h 16"/>
                  <a:gd name="T4" fmla="*/ 0 w 18"/>
                  <a:gd name="T5" fmla="*/ 1 h 16"/>
                  <a:gd name="T6" fmla="*/ 0 w 18"/>
                  <a:gd name="T7" fmla="*/ 14 h 16"/>
                  <a:gd name="T8" fmla="*/ 13 w 18"/>
                  <a:gd name="T9" fmla="*/ 1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6">
                    <a:moveTo>
                      <a:pt x="13" y="14"/>
                    </a:moveTo>
                    <a:cubicBezTo>
                      <a:pt x="14" y="10"/>
                      <a:pt x="18" y="9"/>
                      <a:pt x="17" y="3"/>
                    </a:cubicBezTo>
                    <a:cubicBezTo>
                      <a:pt x="12" y="0"/>
                      <a:pt x="6" y="0"/>
                      <a:pt x="0" y="1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5" y="15"/>
                      <a:pt x="10" y="16"/>
                      <a:pt x="13" y="14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26" name="Freeform 34"/>
              <p:cNvSpPr>
                <a:spLocks noEditPoints="1"/>
              </p:cNvSpPr>
              <p:nvPr/>
            </p:nvSpPr>
            <p:spPr bwMode="auto">
              <a:xfrm>
                <a:off x="709607" y="1935163"/>
                <a:ext cx="2406651" cy="1930400"/>
              </a:xfrm>
              <a:custGeom>
                <a:avLst/>
                <a:gdLst>
                  <a:gd name="T0" fmla="*/ 296 w 2020"/>
                  <a:gd name="T1" fmla="*/ 1268 h 1618"/>
                  <a:gd name="T2" fmla="*/ 730 w 2020"/>
                  <a:gd name="T3" fmla="*/ 1296 h 1618"/>
                  <a:gd name="T4" fmla="*/ 890 w 2020"/>
                  <a:gd name="T5" fmla="*/ 1283 h 1618"/>
                  <a:gd name="T6" fmla="*/ 1253 w 2020"/>
                  <a:gd name="T7" fmla="*/ 1049 h 1618"/>
                  <a:gd name="T8" fmla="*/ 1377 w 2020"/>
                  <a:gd name="T9" fmla="*/ 1150 h 1618"/>
                  <a:gd name="T10" fmla="*/ 1751 w 2020"/>
                  <a:gd name="T11" fmla="*/ 760 h 1618"/>
                  <a:gd name="T12" fmla="*/ 1544 w 2020"/>
                  <a:gd name="T13" fmla="*/ 759 h 1618"/>
                  <a:gd name="T14" fmla="*/ 1387 w 2020"/>
                  <a:gd name="T15" fmla="*/ 871 h 1618"/>
                  <a:gd name="T16" fmla="*/ 1091 w 2020"/>
                  <a:gd name="T17" fmla="*/ 444 h 1618"/>
                  <a:gd name="T18" fmla="*/ 605 w 2020"/>
                  <a:gd name="T19" fmla="*/ 453 h 1618"/>
                  <a:gd name="T20" fmla="*/ 766 w 2020"/>
                  <a:gd name="T21" fmla="*/ 241 h 1618"/>
                  <a:gd name="T22" fmla="*/ 88 w 2020"/>
                  <a:gd name="T23" fmla="*/ 182 h 1618"/>
                  <a:gd name="T24" fmla="*/ 0 w 2020"/>
                  <a:gd name="T25" fmla="*/ 485 h 1618"/>
                  <a:gd name="T26" fmla="*/ 126 w 2020"/>
                  <a:gd name="T27" fmla="*/ 690 h 1618"/>
                  <a:gd name="T28" fmla="*/ 292 w 2020"/>
                  <a:gd name="T29" fmla="*/ 1099 h 1618"/>
                  <a:gd name="T30" fmla="*/ 315 w 2020"/>
                  <a:gd name="T31" fmla="*/ 1317 h 1618"/>
                  <a:gd name="T32" fmla="*/ 713 w 2020"/>
                  <a:gd name="T33" fmla="*/ 1392 h 1618"/>
                  <a:gd name="T34" fmla="*/ 531 w 2020"/>
                  <a:gd name="T35" fmla="*/ 1350 h 1618"/>
                  <a:gd name="T36" fmla="*/ 1548 w 2020"/>
                  <a:gd name="T37" fmla="*/ 1124 h 1618"/>
                  <a:gd name="T38" fmla="*/ 1900 w 2020"/>
                  <a:gd name="T39" fmla="*/ 875 h 1618"/>
                  <a:gd name="T40" fmla="*/ 1651 w 2020"/>
                  <a:gd name="T41" fmla="*/ 828 h 1618"/>
                  <a:gd name="T42" fmla="*/ 359 w 2020"/>
                  <a:gd name="T43" fmla="*/ 1069 h 1618"/>
                  <a:gd name="T44" fmla="*/ 390 w 2020"/>
                  <a:gd name="T45" fmla="*/ 1105 h 1618"/>
                  <a:gd name="T46" fmla="*/ 767 w 2020"/>
                  <a:gd name="T47" fmla="*/ 818 h 1618"/>
                  <a:gd name="T48" fmla="*/ 397 w 2020"/>
                  <a:gd name="T49" fmla="*/ 881 h 1618"/>
                  <a:gd name="T50" fmla="*/ 184 w 2020"/>
                  <a:gd name="T51" fmla="*/ 682 h 1618"/>
                  <a:gd name="T52" fmla="*/ 471 w 2020"/>
                  <a:gd name="T53" fmla="*/ 539 h 1618"/>
                  <a:gd name="T54" fmla="*/ 801 w 2020"/>
                  <a:gd name="T55" fmla="*/ 702 h 1618"/>
                  <a:gd name="T56" fmla="*/ 832 w 2020"/>
                  <a:gd name="T57" fmla="*/ 814 h 1618"/>
                  <a:gd name="T58" fmla="*/ 811 w 2020"/>
                  <a:gd name="T59" fmla="*/ 797 h 1618"/>
                  <a:gd name="T60" fmla="*/ 370 w 2020"/>
                  <a:gd name="T61" fmla="*/ 858 h 1618"/>
                  <a:gd name="T62" fmla="*/ 716 w 2020"/>
                  <a:gd name="T63" fmla="*/ 980 h 1618"/>
                  <a:gd name="T64" fmla="*/ 472 w 2020"/>
                  <a:gd name="T65" fmla="*/ 996 h 1618"/>
                  <a:gd name="T66" fmla="*/ 761 w 2020"/>
                  <a:gd name="T67" fmla="*/ 1097 h 1618"/>
                  <a:gd name="T68" fmla="*/ 777 w 2020"/>
                  <a:gd name="T69" fmla="*/ 1176 h 1618"/>
                  <a:gd name="T70" fmla="*/ 902 w 2020"/>
                  <a:gd name="T71" fmla="*/ 1110 h 1618"/>
                  <a:gd name="T72" fmla="*/ 1039 w 2020"/>
                  <a:gd name="T73" fmla="*/ 951 h 1618"/>
                  <a:gd name="T74" fmla="*/ 1053 w 2020"/>
                  <a:gd name="T75" fmla="*/ 1260 h 1618"/>
                  <a:gd name="T76" fmla="*/ 1177 w 2020"/>
                  <a:gd name="T77" fmla="*/ 1204 h 1618"/>
                  <a:gd name="T78" fmla="*/ 1338 w 2020"/>
                  <a:gd name="T79" fmla="*/ 1153 h 1618"/>
                  <a:gd name="T80" fmla="*/ 1155 w 2020"/>
                  <a:gd name="T81" fmla="*/ 1012 h 1618"/>
                  <a:gd name="T82" fmla="*/ 1222 w 2020"/>
                  <a:gd name="T83" fmla="*/ 859 h 1618"/>
                  <a:gd name="T84" fmla="*/ 1184 w 2020"/>
                  <a:gd name="T85" fmla="*/ 727 h 1618"/>
                  <a:gd name="T86" fmla="*/ 1428 w 2020"/>
                  <a:gd name="T87" fmla="*/ 741 h 1618"/>
                  <a:gd name="T88" fmla="*/ 1750 w 2020"/>
                  <a:gd name="T89" fmla="*/ 636 h 1618"/>
                  <a:gd name="T90" fmla="*/ 1323 w 2020"/>
                  <a:gd name="T91" fmla="*/ 602 h 1618"/>
                  <a:gd name="T92" fmla="*/ 1330 w 2020"/>
                  <a:gd name="T93" fmla="*/ 480 h 1618"/>
                  <a:gd name="T94" fmla="*/ 985 w 2020"/>
                  <a:gd name="T95" fmla="*/ 588 h 1618"/>
                  <a:gd name="T96" fmla="*/ 681 w 2020"/>
                  <a:gd name="T97" fmla="*/ 625 h 1618"/>
                  <a:gd name="T98" fmla="*/ 560 w 2020"/>
                  <a:gd name="T99" fmla="*/ 419 h 1618"/>
                  <a:gd name="T100" fmla="*/ 938 w 2020"/>
                  <a:gd name="T101" fmla="*/ 393 h 1618"/>
                  <a:gd name="T102" fmla="*/ 498 w 2020"/>
                  <a:gd name="T103" fmla="*/ 401 h 1618"/>
                  <a:gd name="T104" fmla="*/ 398 w 2020"/>
                  <a:gd name="T105" fmla="*/ 216 h 1618"/>
                  <a:gd name="T106" fmla="*/ 214 w 2020"/>
                  <a:gd name="T107" fmla="*/ 207 h 1618"/>
                  <a:gd name="T108" fmla="*/ 204 w 2020"/>
                  <a:gd name="T109" fmla="*/ 383 h 1618"/>
                  <a:gd name="T110" fmla="*/ 129 w 2020"/>
                  <a:gd name="T111" fmla="*/ 455 h 1618"/>
                  <a:gd name="T112" fmla="*/ 270 w 2020"/>
                  <a:gd name="T113" fmla="*/ 516 h 1618"/>
                  <a:gd name="T114" fmla="*/ 197 w 2020"/>
                  <a:gd name="T115" fmla="*/ 706 h 1618"/>
                  <a:gd name="T116" fmla="*/ 224 w 2020"/>
                  <a:gd name="T117" fmla="*/ 1044 h 1618"/>
                  <a:gd name="T118" fmla="*/ 456 w 2020"/>
                  <a:gd name="T119" fmla="*/ 1053 h 1618"/>
                  <a:gd name="T120" fmla="*/ 360 w 2020"/>
                  <a:gd name="T121" fmla="*/ 1601 h 1618"/>
                  <a:gd name="T122" fmla="*/ 287 w 2020"/>
                  <a:gd name="T123" fmla="*/ 1343 h 16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020" h="1618">
                    <a:moveTo>
                      <a:pt x="4" y="1422"/>
                    </a:moveTo>
                    <a:cubicBezTo>
                      <a:pt x="6" y="1424"/>
                      <a:pt x="7" y="1426"/>
                      <a:pt x="6" y="1430"/>
                    </a:cubicBezTo>
                    <a:cubicBezTo>
                      <a:pt x="43" y="1413"/>
                      <a:pt x="62" y="1368"/>
                      <a:pt x="111" y="1359"/>
                    </a:cubicBezTo>
                    <a:cubicBezTo>
                      <a:pt x="139" y="1354"/>
                      <a:pt x="168" y="1360"/>
                      <a:pt x="201" y="1359"/>
                    </a:cubicBezTo>
                    <a:cubicBezTo>
                      <a:pt x="224" y="1358"/>
                      <a:pt x="261" y="1351"/>
                      <a:pt x="275" y="1364"/>
                    </a:cubicBezTo>
                    <a:cubicBezTo>
                      <a:pt x="244" y="1386"/>
                      <a:pt x="223" y="1417"/>
                      <a:pt x="192" y="1439"/>
                    </a:cubicBezTo>
                    <a:cubicBezTo>
                      <a:pt x="185" y="1460"/>
                      <a:pt x="198" y="1466"/>
                      <a:pt x="207" y="1479"/>
                    </a:cubicBezTo>
                    <a:cubicBezTo>
                      <a:pt x="215" y="1492"/>
                      <a:pt x="221" y="1511"/>
                      <a:pt x="233" y="1516"/>
                    </a:cubicBezTo>
                    <a:cubicBezTo>
                      <a:pt x="241" y="1519"/>
                      <a:pt x="251" y="1514"/>
                      <a:pt x="263" y="1513"/>
                    </a:cubicBezTo>
                    <a:cubicBezTo>
                      <a:pt x="296" y="1512"/>
                      <a:pt x="338" y="1516"/>
                      <a:pt x="367" y="1525"/>
                    </a:cubicBezTo>
                    <a:cubicBezTo>
                      <a:pt x="344" y="1527"/>
                      <a:pt x="361" y="1553"/>
                      <a:pt x="364" y="1564"/>
                    </a:cubicBezTo>
                    <a:cubicBezTo>
                      <a:pt x="348" y="1567"/>
                      <a:pt x="347" y="1591"/>
                      <a:pt x="353" y="1607"/>
                    </a:cubicBezTo>
                    <a:cubicBezTo>
                      <a:pt x="364" y="1613"/>
                      <a:pt x="386" y="1618"/>
                      <a:pt x="396" y="1613"/>
                    </a:cubicBezTo>
                    <a:cubicBezTo>
                      <a:pt x="431" y="1594"/>
                      <a:pt x="458" y="1540"/>
                      <a:pt x="478" y="1514"/>
                    </a:cubicBezTo>
                    <a:cubicBezTo>
                      <a:pt x="478" y="1496"/>
                      <a:pt x="479" y="1477"/>
                      <a:pt x="474" y="1464"/>
                    </a:cubicBezTo>
                    <a:cubicBezTo>
                      <a:pt x="470" y="1460"/>
                      <a:pt x="463" y="1459"/>
                      <a:pt x="459" y="1454"/>
                    </a:cubicBezTo>
                    <a:cubicBezTo>
                      <a:pt x="459" y="1447"/>
                      <a:pt x="459" y="1447"/>
                      <a:pt x="459" y="1447"/>
                    </a:cubicBezTo>
                    <a:cubicBezTo>
                      <a:pt x="445" y="1441"/>
                      <a:pt x="438" y="1427"/>
                      <a:pt x="420" y="1421"/>
                    </a:cubicBezTo>
                    <a:cubicBezTo>
                      <a:pt x="395" y="1414"/>
                      <a:pt x="363" y="1424"/>
                      <a:pt x="335" y="1416"/>
                    </a:cubicBezTo>
                    <a:cubicBezTo>
                      <a:pt x="333" y="1409"/>
                      <a:pt x="325" y="1408"/>
                      <a:pt x="324" y="1400"/>
                    </a:cubicBezTo>
                    <a:cubicBezTo>
                      <a:pt x="343" y="1390"/>
                      <a:pt x="350" y="1369"/>
                      <a:pt x="367" y="1357"/>
                    </a:cubicBezTo>
                    <a:cubicBezTo>
                      <a:pt x="366" y="1349"/>
                      <a:pt x="358" y="1350"/>
                      <a:pt x="358" y="1341"/>
                    </a:cubicBezTo>
                    <a:cubicBezTo>
                      <a:pt x="360" y="1335"/>
                      <a:pt x="367" y="1323"/>
                      <a:pt x="361" y="1318"/>
                    </a:cubicBezTo>
                    <a:cubicBezTo>
                      <a:pt x="359" y="1329"/>
                      <a:pt x="338" y="1337"/>
                      <a:pt x="333" y="1324"/>
                    </a:cubicBezTo>
                    <a:cubicBezTo>
                      <a:pt x="334" y="1318"/>
                      <a:pt x="340" y="1316"/>
                      <a:pt x="339" y="1308"/>
                    </a:cubicBezTo>
                    <a:cubicBezTo>
                      <a:pt x="317" y="1313"/>
                      <a:pt x="282" y="1309"/>
                      <a:pt x="287" y="1274"/>
                    </a:cubicBezTo>
                    <a:cubicBezTo>
                      <a:pt x="292" y="1274"/>
                      <a:pt x="297" y="1274"/>
                      <a:pt x="296" y="1268"/>
                    </a:cubicBezTo>
                    <a:cubicBezTo>
                      <a:pt x="284" y="1252"/>
                      <a:pt x="256" y="1252"/>
                      <a:pt x="249" y="1231"/>
                    </a:cubicBezTo>
                    <a:cubicBezTo>
                      <a:pt x="249" y="1228"/>
                      <a:pt x="254" y="1229"/>
                      <a:pt x="254" y="1227"/>
                    </a:cubicBezTo>
                    <a:cubicBezTo>
                      <a:pt x="234" y="1221"/>
                      <a:pt x="248" y="1177"/>
                      <a:pt x="264" y="1174"/>
                    </a:cubicBezTo>
                    <a:cubicBezTo>
                      <a:pt x="276" y="1171"/>
                      <a:pt x="277" y="1181"/>
                      <a:pt x="290" y="1182"/>
                    </a:cubicBezTo>
                    <a:cubicBezTo>
                      <a:pt x="289" y="1169"/>
                      <a:pt x="282" y="1159"/>
                      <a:pt x="283" y="1143"/>
                    </a:cubicBezTo>
                    <a:cubicBezTo>
                      <a:pt x="284" y="1126"/>
                      <a:pt x="295" y="1109"/>
                      <a:pt x="299" y="1097"/>
                    </a:cubicBezTo>
                    <a:cubicBezTo>
                      <a:pt x="330" y="1080"/>
                      <a:pt x="350" y="1099"/>
                      <a:pt x="353" y="1124"/>
                    </a:cubicBezTo>
                    <a:cubicBezTo>
                      <a:pt x="359" y="1111"/>
                      <a:pt x="382" y="1105"/>
                      <a:pt x="397" y="1114"/>
                    </a:cubicBezTo>
                    <a:cubicBezTo>
                      <a:pt x="406" y="1130"/>
                      <a:pt x="400" y="1144"/>
                      <a:pt x="394" y="1158"/>
                    </a:cubicBezTo>
                    <a:cubicBezTo>
                      <a:pt x="403" y="1159"/>
                      <a:pt x="404" y="1153"/>
                      <a:pt x="414" y="1154"/>
                    </a:cubicBezTo>
                    <a:cubicBezTo>
                      <a:pt x="435" y="1173"/>
                      <a:pt x="407" y="1197"/>
                      <a:pt x="401" y="1213"/>
                    </a:cubicBezTo>
                    <a:cubicBezTo>
                      <a:pt x="400" y="1219"/>
                      <a:pt x="409" y="1214"/>
                      <a:pt x="410" y="1218"/>
                    </a:cubicBezTo>
                    <a:cubicBezTo>
                      <a:pt x="390" y="1255"/>
                      <a:pt x="362" y="1287"/>
                      <a:pt x="379" y="1341"/>
                    </a:cubicBezTo>
                    <a:cubicBezTo>
                      <a:pt x="368" y="1347"/>
                      <a:pt x="366" y="1376"/>
                      <a:pt x="375" y="1385"/>
                    </a:cubicBezTo>
                    <a:cubicBezTo>
                      <a:pt x="382" y="1383"/>
                      <a:pt x="388" y="1388"/>
                      <a:pt x="392" y="1385"/>
                    </a:cubicBezTo>
                    <a:cubicBezTo>
                      <a:pt x="391" y="1387"/>
                      <a:pt x="390" y="1389"/>
                      <a:pt x="391" y="1394"/>
                    </a:cubicBezTo>
                    <a:cubicBezTo>
                      <a:pt x="405" y="1399"/>
                      <a:pt x="433" y="1402"/>
                      <a:pt x="442" y="1389"/>
                    </a:cubicBezTo>
                    <a:cubicBezTo>
                      <a:pt x="439" y="1380"/>
                      <a:pt x="437" y="1349"/>
                      <a:pt x="450" y="1345"/>
                    </a:cubicBezTo>
                    <a:cubicBezTo>
                      <a:pt x="414" y="1400"/>
                      <a:pt x="501" y="1448"/>
                      <a:pt x="522" y="1392"/>
                    </a:cubicBezTo>
                    <a:cubicBezTo>
                      <a:pt x="525" y="1394"/>
                      <a:pt x="527" y="1397"/>
                      <a:pt x="531" y="1398"/>
                    </a:cubicBezTo>
                    <a:cubicBezTo>
                      <a:pt x="583" y="1387"/>
                      <a:pt x="637" y="1401"/>
                      <a:pt x="693" y="1399"/>
                    </a:cubicBezTo>
                    <a:cubicBezTo>
                      <a:pt x="697" y="1401"/>
                      <a:pt x="699" y="1404"/>
                      <a:pt x="704" y="1404"/>
                    </a:cubicBezTo>
                    <a:cubicBezTo>
                      <a:pt x="708" y="1403"/>
                      <a:pt x="713" y="1402"/>
                      <a:pt x="716" y="1400"/>
                    </a:cubicBezTo>
                    <a:cubicBezTo>
                      <a:pt x="725" y="1434"/>
                      <a:pt x="793" y="1445"/>
                      <a:pt x="801" y="1404"/>
                    </a:cubicBezTo>
                    <a:cubicBezTo>
                      <a:pt x="805" y="1407"/>
                      <a:pt x="806" y="1404"/>
                      <a:pt x="810" y="1404"/>
                    </a:cubicBezTo>
                    <a:cubicBezTo>
                      <a:pt x="817" y="1348"/>
                      <a:pt x="765" y="1321"/>
                      <a:pt x="724" y="1344"/>
                    </a:cubicBezTo>
                    <a:cubicBezTo>
                      <a:pt x="714" y="1321"/>
                      <a:pt x="730" y="1309"/>
                      <a:pt x="730" y="1296"/>
                    </a:cubicBezTo>
                    <a:cubicBezTo>
                      <a:pt x="729" y="1287"/>
                      <a:pt x="718" y="1273"/>
                      <a:pt x="710" y="1264"/>
                    </a:cubicBezTo>
                    <a:cubicBezTo>
                      <a:pt x="681" y="1237"/>
                      <a:pt x="620" y="1246"/>
                      <a:pt x="596" y="1239"/>
                    </a:cubicBezTo>
                    <a:cubicBezTo>
                      <a:pt x="591" y="1259"/>
                      <a:pt x="591" y="1274"/>
                      <a:pt x="592" y="1301"/>
                    </a:cubicBezTo>
                    <a:cubicBezTo>
                      <a:pt x="587" y="1301"/>
                      <a:pt x="591" y="1311"/>
                      <a:pt x="582" y="1308"/>
                    </a:cubicBezTo>
                    <a:cubicBezTo>
                      <a:pt x="585" y="1319"/>
                      <a:pt x="589" y="1340"/>
                      <a:pt x="583" y="1350"/>
                    </a:cubicBezTo>
                    <a:cubicBezTo>
                      <a:pt x="575" y="1351"/>
                      <a:pt x="575" y="1351"/>
                      <a:pt x="575" y="1351"/>
                    </a:cubicBezTo>
                    <a:cubicBezTo>
                      <a:pt x="574" y="1304"/>
                      <a:pt x="576" y="1280"/>
                      <a:pt x="584" y="1241"/>
                    </a:cubicBezTo>
                    <a:cubicBezTo>
                      <a:pt x="528" y="1240"/>
                      <a:pt x="466" y="1252"/>
                      <a:pt x="472" y="1321"/>
                    </a:cubicBezTo>
                    <a:cubicBezTo>
                      <a:pt x="445" y="1328"/>
                      <a:pt x="426" y="1352"/>
                      <a:pt x="431" y="1386"/>
                    </a:cubicBezTo>
                    <a:cubicBezTo>
                      <a:pt x="422" y="1387"/>
                      <a:pt x="408" y="1393"/>
                      <a:pt x="403" y="1384"/>
                    </a:cubicBezTo>
                    <a:cubicBezTo>
                      <a:pt x="419" y="1384"/>
                      <a:pt x="419" y="1384"/>
                      <a:pt x="419" y="1384"/>
                    </a:cubicBezTo>
                    <a:cubicBezTo>
                      <a:pt x="421" y="1375"/>
                      <a:pt x="426" y="1369"/>
                      <a:pt x="429" y="1361"/>
                    </a:cubicBezTo>
                    <a:cubicBezTo>
                      <a:pt x="421" y="1360"/>
                      <a:pt x="424" y="1347"/>
                      <a:pt x="418" y="1343"/>
                    </a:cubicBezTo>
                    <a:cubicBezTo>
                      <a:pt x="409" y="1350"/>
                      <a:pt x="392" y="1346"/>
                      <a:pt x="388" y="1337"/>
                    </a:cubicBezTo>
                    <a:cubicBezTo>
                      <a:pt x="392" y="1332"/>
                      <a:pt x="404" y="1333"/>
                      <a:pt x="409" y="1328"/>
                    </a:cubicBezTo>
                    <a:cubicBezTo>
                      <a:pt x="408" y="1301"/>
                      <a:pt x="408" y="1301"/>
                      <a:pt x="408" y="1301"/>
                    </a:cubicBezTo>
                    <a:cubicBezTo>
                      <a:pt x="403" y="1296"/>
                      <a:pt x="389" y="1301"/>
                      <a:pt x="385" y="1295"/>
                    </a:cubicBezTo>
                    <a:cubicBezTo>
                      <a:pt x="385" y="1288"/>
                      <a:pt x="385" y="1288"/>
                      <a:pt x="385" y="1288"/>
                    </a:cubicBezTo>
                    <a:cubicBezTo>
                      <a:pt x="412" y="1279"/>
                      <a:pt x="449" y="1298"/>
                      <a:pt x="466" y="1279"/>
                    </a:cubicBezTo>
                    <a:cubicBezTo>
                      <a:pt x="476" y="1267"/>
                      <a:pt x="472" y="1252"/>
                      <a:pt x="486" y="1241"/>
                    </a:cubicBezTo>
                    <a:cubicBezTo>
                      <a:pt x="495" y="1248"/>
                      <a:pt x="505" y="1242"/>
                      <a:pt x="516" y="1244"/>
                    </a:cubicBezTo>
                    <a:cubicBezTo>
                      <a:pt x="573" y="1221"/>
                      <a:pt x="657" y="1235"/>
                      <a:pt x="709" y="1245"/>
                    </a:cubicBezTo>
                    <a:cubicBezTo>
                      <a:pt x="721" y="1268"/>
                      <a:pt x="742" y="1282"/>
                      <a:pt x="755" y="1304"/>
                    </a:cubicBezTo>
                    <a:cubicBezTo>
                      <a:pt x="763" y="1305"/>
                      <a:pt x="773" y="1303"/>
                      <a:pt x="776" y="1300"/>
                    </a:cubicBezTo>
                    <a:cubicBezTo>
                      <a:pt x="800" y="1282"/>
                      <a:pt x="817" y="1240"/>
                      <a:pt x="836" y="1219"/>
                    </a:cubicBezTo>
                    <a:cubicBezTo>
                      <a:pt x="867" y="1216"/>
                      <a:pt x="907" y="1211"/>
                      <a:pt x="933" y="1226"/>
                    </a:cubicBezTo>
                    <a:cubicBezTo>
                      <a:pt x="924" y="1242"/>
                      <a:pt x="905" y="1268"/>
                      <a:pt x="890" y="1283"/>
                    </a:cubicBezTo>
                    <a:cubicBezTo>
                      <a:pt x="877" y="1298"/>
                      <a:pt x="875" y="1320"/>
                      <a:pt x="847" y="1314"/>
                    </a:cubicBezTo>
                    <a:cubicBezTo>
                      <a:pt x="840" y="1324"/>
                      <a:pt x="842" y="1339"/>
                      <a:pt x="846" y="1352"/>
                    </a:cubicBezTo>
                    <a:cubicBezTo>
                      <a:pt x="836" y="1351"/>
                      <a:pt x="827" y="1352"/>
                      <a:pt x="820" y="1354"/>
                    </a:cubicBezTo>
                    <a:cubicBezTo>
                      <a:pt x="813" y="1363"/>
                      <a:pt x="814" y="1385"/>
                      <a:pt x="817" y="1398"/>
                    </a:cubicBezTo>
                    <a:cubicBezTo>
                      <a:pt x="896" y="1414"/>
                      <a:pt x="904" y="1338"/>
                      <a:pt x="944" y="1305"/>
                    </a:cubicBezTo>
                    <a:cubicBezTo>
                      <a:pt x="963" y="1321"/>
                      <a:pt x="976" y="1294"/>
                      <a:pt x="991" y="1290"/>
                    </a:cubicBezTo>
                    <a:cubicBezTo>
                      <a:pt x="991" y="1294"/>
                      <a:pt x="993" y="1296"/>
                      <a:pt x="997" y="1295"/>
                    </a:cubicBezTo>
                    <a:cubicBezTo>
                      <a:pt x="1053" y="1298"/>
                      <a:pt x="1107" y="1299"/>
                      <a:pt x="1165" y="1304"/>
                    </a:cubicBezTo>
                    <a:cubicBezTo>
                      <a:pt x="1168" y="1301"/>
                      <a:pt x="1165" y="1293"/>
                      <a:pt x="1172" y="1293"/>
                    </a:cubicBezTo>
                    <a:cubicBezTo>
                      <a:pt x="1182" y="1317"/>
                      <a:pt x="1211" y="1334"/>
                      <a:pt x="1243" y="1320"/>
                    </a:cubicBezTo>
                    <a:cubicBezTo>
                      <a:pt x="1246" y="1309"/>
                      <a:pt x="1262" y="1305"/>
                      <a:pt x="1258" y="1293"/>
                    </a:cubicBezTo>
                    <a:cubicBezTo>
                      <a:pt x="1270" y="1318"/>
                      <a:pt x="1302" y="1300"/>
                      <a:pt x="1315" y="1288"/>
                    </a:cubicBezTo>
                    <a:cubicBezTo>
                      <a:pt x="1322" y="1265"/>
                      <a:pt x="1338" y="1240"/>
                      <a:pt x="1349" y="1220"/>
                    </a:cubicBezTo>
                    <a:cubicBezTo>
                      <a:pt x="1359" y="1201"/>
                      <a:pt x="1379" y="1176"/>
                      <a:pt x="1372" y="1151"/>
                    </a:cubicBezTo>
                    <a:cubicBezTo>
                      <a:pt x="1369" y="1147"/>
                      <a:pt x="1364" y="1146"/>
                      <a:pt x="1359" y="1144"/>
                    </a:cubicBezTo>
                    <a:cubicBezTo>
                      <a:pt x="1356" y="1109"/>
                      <a:pt x="1326" y="1108"/>
                      <a:pt x="1288" y="1112"/>
                    </a:cubicBezTo>
                    <a:cubicBezTo>
                      <a:pt x="1285" y="1093"/>
                      <a:pt x="1271" y="1086"/>
                      <a:pt x="1256" y="1081"/>
                    </a:cubicBezTo>
                    <a:cubicBezTo>
                      <a:pt x="1256" y="1070"/>
                      <a:pt x="1253" y="1056"/>
                      <a:pt x="1258" y="1051"/>
                    </a:cubicBezTo>
                    <a:cubicBezTo>
                      <a:pt x="1286" y="1056"/>
                      <a:pt x="1325" y="1051"/>
                      <a:pt x="1349" y="1061"/>
                    </a:cubicBezTo>
                    <a:cubicBezTo>
                      <a:pt x="1343" y="1064"/>
                      <a:pt x="1350" y="1066"/>
                      <a:pt x="1351" y="1071"/>
                    </a:cubicBezTo>
                    <a:cubicBezTo>
                      <a:pt x="1353" y="1084"/>
                      <a:pt x="1351" y="1104"/>
                      <a:pt x="1355" y="1116"/>
                    </a:cubicBezTo>
                    <a:cubicBezTo>
                      <a:pt x="1367" y="1115"/>
                      <a:pt x="1363" y="1100"/>
                      <a:pt x="1362" y="1091"/>
                    </a:cubicBezTo>
                    <a:cubicBezTo>
                      <a:pt x="1361" y="1079"/>
                      <a:pt x="1358" y="1064"/>
                      <a:pt x="1354" y="1057"/>
                    </a:cubicBezTo>
                    <a:cubicBezTo>
                      <a:pt x="1365" y="1039"/>
                      <a:pt x="1344" y="1004"/>
                      <a:pt x="1358" y="988"/>
                    </a:cubicBezTo>
                    <a:cubicBezTo>
                      <a:pt x="1350" y="979"/>
                      <a:pt x="1336" y="983"/>
                      <a:pt x="1321" y="982"/>
                    </a:cubicBezTo>
                    <a:cubicBezTo>
                      <a:pt x="1296" y="979"/>
                      <a:pt x="1264" y="971"/>
                      <a:pt x="1250" y="985"/>
                    </a:cubicBezTo>
                    <a:cubicBezTo>
                      <a:pt x="1254" y="1006"/>
                      <a:pt x="1250" y="1031"/>
                      <a:pt x="1253" y="1049"/>
                    </a:cubicBezTo>
                    <a:cubicBezTo>
                      <a:pt x="1241" y="1050"/>
                      <a:pt x="1248" y="1071"/>
                      <a:pt x="1247" y="1083"/>
                    </a:cubicBezTo>
                    <a:cubicBezTo>
                      <a:pt x="1238" y="1085"/>
                      <a:pt x="1228" y="1087"/>
                      <a:pt x="1220" y="1092"/>
                    </a:cubicBezTo>
                    <a:cubicBezTo>
                      <a:pt x="1212" y="1078"/>
                      <a:pt x="1204" y="1062"/>
                      <a:pt x="1186" y="1057"/>
                    </a:cubicBezTo>
                    <a:cubicBezTo>
                      <a:pt x="1170" y="1022"/>
                      <a:pt x="1185" y="986"/>
                      <a:pt x="1200" y="965"/>
                    </a:cubicBezTo>
                    <a:cubicBezTo>
                      <a:pt x="1212" y="949"/>
                      <a:pt x="1245" y="920"/>
                      <a:pt x="1267" y="902"/>
                    </a:cubicBezTo>
                    <a:cubicBezTo>
                      <a:pt x="1288" y="886"/>
                      <a:pt x="1322" y="880"/>
                      <a:pt x="1357" y="882"/>
                    </a:cubicBezTo>
                    <a:cubicBezTo>
                      <a:pt x="1404" y="885"/>
                      <a:pt x="1468" y="879"/>
                      <a:pt x="1508" y="893"/>
                    </a:cubicBezTo>
                    <a:cubicBezTo>
                      <a:pt x="1488" y="925"/>
                      <a:pt x="1459" y="951"/>
                      <a:pt x="1441" y="985"/>
                    </a:cubicBezTo>
                    <a:cubicBezTo>
                      <a:pt x="1461" y="1002"/>
                      <a:pt x="1474" y="1026"/>
                      <a:pt x="1483" y="1054"/>
                    </a:cubicBezTo>
                    <a:cubicBezTo>
                      <a:pt x="1504" y="1057"/>
                      <a:pt x="1507" y="1040"/>
                      <a:pt x="1518" y="1022"/>
                    </a:cubicBezTo>
                    <a:cubicBezTo>
                      <a:pt x="1530" y="1000"/>
                      <a:pt x="1544" y="976"/>
                      <a:pt x="1555" y="955"/>
                    </a:cubicBezTo>
                    <a:cubicBezTo>
                      <a:pt x="1590" y="950"/>
                      <a:pt x="1632" y="957"/>
                      <a:pt x="1672" y="960"/>
                    </a:cubicBezTo>
                    <a:cubicBezTo>
                      <a:pt x="1673" y="964"/>
                      <a:pt x="1674" y="967"/>
                      <a:pt x="1676" y="970"/>
                    </a:cubicBezTo>
                    <a:cubicBezTo>
                      <a:pt x="1669" y="991"/>
                      <a:pt x="1649" y="1011"/>
                      <a:pt x="1640" y="1028"/>
                    </a:cubicBezTo>
                    <a:cubicBezTo>
                      <a:pt x="1633" y="1042"/>
                      <a:pt x="1631" y="1056"/>
                      <a:pt x="1619" y="1064"/>
                    </a:cubicBezTo>
                    <a:cubicBezTo>
                      <a:pt x="1604" y="1074"/>
                      <a:pt x="1579" y="1066"/>
                      <a:pt x="1554" y="1065"/>
                    </a:cubicBezTo>
                    <a:cubicBezTo>
                      <a:pt x="1543" y="1065"/>
                      <a:pt x="1525" y="1067"/>
                      <a:pt x="1513" y="1066"/>
                    </a:cubicBezTo>
                    <a:cubicBezTo>
                      <a:pt x="1503" y="1066"/>
                      <a:pt x="1490" y="1055"/>
                      <a:pt x="1485" y="1067"/>
                    </a:cubicBezTo>
                    <a:cubicBezTo>
                      <a:pt x="1517" y="1077"/>
                      <a:pt x="1571" y="1066"/>
                      <a:pt x="1606" y="1078"/>
                    </a:cubicBezTo>
                    <a:cubicBezTo>
                      <a:pt x="1614" y="1073"/>
                      <a:pt x="1625" y="1071"/>
                      <a:pt x="1632" y="1065"/>
                    </a:cubicBezTo>
                    <a:cubicBezTo>
                      <a:pt x="1627" y="1072"/>
                      <a:pt x="1621" y="1076"/>
                      <a:pt x="1613" y="1080"/>
                    </a:cubicBezTo>
                    <a:cubicBezTo>
                      <a:pt x="1609" y="1089"/>
                      <a:pt x="1616" y="1099"/>
                      <a:pt x="1612" y="1108"/>
                    </a:cubicBezTo>
                    <a:cubicBezTo>
                      <a:pt x="1580" y="1101"/>
                      <a:pt x="1590" y="1130"/>
                      <a:pt x="1590" y="1153"/>
                    </a:cubicBezTo>
                    <a:cubicBezTo>
                      <a:pt x="1575" y="1153"/>
                      <a:pt x="1575" y="1153"/>
                      <a:pt x="1575" y="1153"/>
                    </a:cubicBezTo>
                    <a:cubicBezTo>
                      <a:pt x="1575" y="1115"/>
                      <a:pt x="1552" y="1077"/>
                      <a:pt x="1521" y="1082"/>
                    </a:cubicBezTo>
                    <a:cubicBezTo>
                      <a:pt x="1498" y="1086"/>
                      <a:pt x="1484" y="1129"/>
                      <a:pt x="1482" y="1155"/>
                    </a:cubicBezTo>
                    <a:cubicBezTo>
                      <a:pt x="1452" y="1154"/>
                      <a:pt x="1413" y="1151"/>
                      <a:pt x="1377" y="1150"/>
                    </a:cubicBezTo>
                    <a:cubicBezTo>
                      <a:pt x="1376" y="1163"/>
                      <a:pt x="1386" y="1156"/>
                      <a:pt x="1393" y="1157"/>
                    </a:cubicBezTo>
                    <a:cubicBezTo>
                      <a:pt x="1422" y="1160"/>
                      <a:pt x="1467" y="1161"/>
                      <a:pt x="1487" y="1164"/>
                    </a:cubicBezTo>
                    <a:cubicBezTo>
                      <a:pt x="1490" y="1161"/>
                      <a:pt x="1493" y="1159"/>
                      <a:pt x="1496" y="1157"/>
                    </a:cubicBezTo>
                    <a:cubicBezTo>
                      <a:pt x="1505" y="1190"/>
                      <a:pt x="1554" y="1202"/>
                      <a:pt x="1578" y="1172"/>
                    </a:cubicBezTo>
                    <a:cubicBezTo>
                      <a:pt x="1582" y="1167"/>
                      <a:pt x="1573" y="1166"/>
                      <a:pt x="1577" y="1162"/>
                    </a:cubicBezTo>
                    <a:cubicBezTo>
                      <a:pt x="1639" y="1173"/>
                      <a:pt x="1649" y="1145"/>
                      <a:pt x="1668" y="1112"/>
                    </a:cubicBezTo>
                    <a:cubicBezTo>
                      <a:pt x="1682" y="1090"/>
                      <a:pt x="1696" y="1061"/>
                      <a:pt x="1709" y="1042"/>
                    </a:cubicBezTo>
                    <a:cubicBezTo>
                      <a:pt x="1707" y="1032"/>
                      <a:pt x="1707" y="1018"/>
                      <a:pt x="1703" y="1009"/>
                    </a:cubicBezTo>
                    <a:cubicBezTo>
                      <a:pt x="1698" y="1008"/>
                      <a:pt x="1692" y="1007"/>
                      <a:pt x="1691" y="1002"/>
                    </a:cubicBezTo>
                    <a:cubicBezTo>
                      <a:pt x="1690" y="990"/>
                      <a:pt x="1687" y="982"/>
                      <a:pt x="1688" y="968"/>
                    </a:cubicBezTo>
                    <a:cubicBezTo>
                      <a:pt x="1683" y="964"/>
                      <a:pt x="1681" y="958"/>
                      <a:pt x="1677" y="953"/>
                    </a:cubicBezTo>
                    <a:cubicBezTo>
                      <a:pt x="1642" y="947"/>
                      <a:pt x="1600" y="946"/>
                      <a:pt x="1555" y="945"/>
                    </a:cubicBezTo>
                    <a:cubicBezTo>
                      <a:pt x="1554" y="937"/>
                      <a:pt x="1544" y="930"/>
                      <a:pt x="1547" y="924"/>
                    </a:cubicBezTo>
                    <a:cubicBezTo>
                      <a:pt x="1556" y="927"/>
                      <a:pt x="1561" y="924"/>
                      <a:pt x="1569" y="930"/>
                    </a:cubicBezTo>
                    <a:cubicBezTo>
                      <a:pt x="1631" y="919"/>
                      <a:pt x="1709" y="943"/>
                      <a:pt x="1772" y="926"/>
                    </a:cubicBezTo>
                    <a:cubicBezTo>
                      <a:pt x="1787" y="952"/>
                      <a:pt x="1855" y="968"/>
                      <a:pt x="1867" y="927"/>
                    </a:cubicBezTo>
                    <a:cubicBezTo>
                      <a:pt x="1890" y="927"/>
                      <a:pt x="1890" y="927"/>
                      <a:pt x="1890" y="927"/>
                    </a:cubicBezTo>
                    <a:cubicBezTo>
                      <a:pt x="1891" y="930"/>
                      <a:pt x="1890" y="933"/>
                      <a:pt x="1894" y="932"/>
                    </a:cubicBezTo>
                    <a:cubicBezTo>
                      <a:pt x="1902" y="938"/>
                      <a:pt x="1917" y="937"/>
                      <a:pt x="1931" y="936"/>
                    </a:cubicBezTo>
                    <a:cubicBezTo>
                      <a:pt x="1957" y="923"/>
                      <a:pt x="1964" y="896"/>
                      <a:pt x="1983" y="865"/>
                    </a:cubicBezTo>
                    <a:cubicBezTo>
                      <a:pt x="1996" y="843"/>
                      <a:pt x="2020" y="834"/>
                      <a:pt x="2011" y="804"/>
                    </a:cubicBezTo>
                    <a:cubicBezTo>
                      <a:pt x="2008" y="802"/>
                      <a:pt x="2003" y="803"/>
                      <a:pt x="2001" y="801"/>
                    </a:cubicBezTo>
                    <a:cubicBezTo>
                      <a:pt x="1998" y="744"/>
                      <a:pt x="1920" y="763"/>
                      <a:pt x="1880" y="755"/>
                    </a:cubicBezTo>
                    <a:cubicBezTo>
                      <a:pt x="1857" y="730"/>
                      <a:pt x="1833" y="695"/>
                      <a:pt x="1797" y="685"/>
                    </a:cubicBezTo>
                    <a:cubicBezTo>
                      <a:pt x="1789" y="683"/>
                      <a:pt x="1772" y="678"/>
                      <a:pt x="1765" y="687"/>
                    </a:cubicBezTo>
                    <a:cubicBezTo>
                      <a:pt x="1780" y="690"/>
                      <a:pt x="1795" y="693"/>
                      <a:pt x="1808" y="699"/>
                    </a:cubicBezTo>
                    <a:cubicBezTo>
                      <a:pt x="1787" y="718"/>
                      <a:pt x="1762" y="733"/>
                      <a:pt x="1751" y="760"/>
                    </a:cubicBezTo>
                    <a:cubicBezTo>
                      <a:pt x="1764" y="773"/>
                      <a:pt x="1783" y="810"/>
                      <a:pt x="1798" y="819"/>
                    </a:cubicBezTo>
                    <a:cubicBezTo>
                      <a:pt x="1821" y="833"/>
                      <a:pt x="1833" y="790"/>
                      <a:pt x="1846" y="776"/>
                    </a:cubicBezTo>
                    <a:cubicBezTo>
                      <a:pt x="1856" y="765"/>
                      <a:pt x="1862" y="763"/>
                      <a:pt x="1867" y="754"/>
                    </a:cubicBezTo>
                    <a:cubicBezTo>
                      <a:pt x="1896" y="783"/>
                      <a:pt x="2004" y="742"/>
                      <a:pt x="1989" y="808"/>
                    </a:cubicBezTo>
                    <a:cubicBezTo>
                      <a:pt x="1985" y="803"/>
                      <a:pt x="1978" y="811"/>
                      <a:pt x="1976" y="806"/>
                    </a:cubicBezTo>
                    <a:cubicBezTo>
                      <a:pt x="1973" y="793"/>
                      <a:pt x="1984" y="794"/>
                      <a:pt x="1983" y="783"/>
                    </a:cubicBezTo>
                    <a:cubicBezTo>
                      <a:pt x="1973" y="783"/>
                      <a:pt x="1970" y="790"/>
                      <a:pt x="1964" y="794"/>
                    </a:cubicBezTo>
                    <a:cubicBezTo>
                      <a:pt x="1964" y="817"/>
                      <a:pt x="1946" y="833"/>
                      <a:pt x="1927" y="843"/>
                    </a:cubicBezTo>
                    <a:cubicBezTo>
                      <a:pt x="1926" y="841"/>
                      <a:pt x="1924" y="839"/>
                      <a:pt x="1922" y="838"/>
                    </a:cubicBezTo>
                    <a:cubicBezTo>
                      <a:pt x="1913" y="844"/>
                      <a:pt x="1899" y="847"/>
                      <a:pt x="1889" y="853"/>
                    </a:cubicBezTo>
                    <a:cubicBezTo>
                      <a:pt x="1888" y="864"/>
                      <a:pt x="1891" y="870"/>
                      <a:pt x="1891" y="881"/>
                    </a:cubicBezTo>
                    <a:cubicBezTo>
                      <a:pt x="1899" y="880"/>
                      <a:pt x="1904" y="883"/>
                      <a:pt x="1907" y="887"/>
                    </a:cubicBezTo>
                    <a:cubicBezTo>
                      <a:pt x="1893" y="895"/>
                      <a:pt x="1880" y="893"/>
                      <a:pt x="1861" y="896"/>
                    </a:cubicBezTo>
                    <a:cubicBezTo>
                      <a:pt x="1862" y="850"/>
                      <a:pt x="1796" y="829"/>
                      <a:pt x="1769" y="861"/>
                    </a:cubicBezTo>
                    <a:cubicBezTo>
                      <a:pt x="1762" y="850"/>
                      <a:pt x="1773" y="829"/>
                      <a:pt x="1763" y="825"/>
                    </a:cubicBezTo>
                    <a:cubicBezTo>
                      <a:pt x="1766" y="819"/>
                      <a:pt x="1769" y="813"/>
                      <a:pt x="1767" y="802"/>
                    </a:cubicBezTo>
                    <a:cubicBezTo>
                      <a:pt x="1756" y="790"/>
                      <a:pt x="1746" y="777"/>
                      <a:pt x="1733" y="766"/>
                    </a:cubicBezTo>
                    <a:cubicBezTo>
                      <a:pt x="1712" y="763"/>
                      <a:pt x="1680" y="767"/>
                      <a:pt x="1664" y="764"/>
                    </a:cubicBezTo>
                    <a:cubicBezTo>
                      <a:pt x="1652" y="782"/>
                      <a:pt x="1653" y="813"/>
                      <a:pt x="1643" y="833"/>
                    </a:cubicBezTo>
                    <a:cubicBezTo>
                      <a:pt x="1650" y="852"/>
                      <a:pt x="1646" y="881"/>
                      <a:pt x="1646" y="899"/>
                    </a:cubicBezTo>
                    <a:cubicBezTo>
                      <a:pt x="1667" y="911"/>
                      <a:pt x="1704" y="896"/>
                      <a:pt x="1727" y="909"/>
                    </a:cubicBezTo>
                    <a:cubicBezTo>
                      <a:pt x="1676" y="912"/>
                      <a:pt x="1604" y="905"/>
                      <a:pt x="1552" y="906"/>
                    </a:cubicBezTo>
                    <a:cubicBezTo>
                      <a:pt x="1574" y="897"/>
                      <a:pt x="1606" y="902"/>
                      <a:pt x="1634" y="904"/>
                    </a:cubicBezTo>
                    <a:cubicBezTo>
                      <a:pt x="1645" y="883"/>
                      <a:pt x="1635" y="851"/>
                      <a:pt x="1630" y="826"/>
                    </a:cubicBezTo>
                    <a:cubicBezTo>
                      <a:pt x="1635" y="808"/>
                      <a:pt x="1646" y="788"/>
                      <a:pt x="1641" y="766"/>
                    </a:cubicBezTo>
                    <a:cubicBezTo>
                      <a:pt x="1627" y="755"/>
                      <a:pt x="1615" y="761"/>
                      <a:pt x="1593" y="760"/>
                    </a:cubicBezTo>
                    <a:cubicBezTo>
                      <a:pt x="1574" y="760"/>
                      <a:pt x="1555" y="756"/>
                      <a:pt x="1544" y="759"/>
                    </a:cubicBezTo>
                    <a:cubicBezTo>
                      <a:pt x="1519" y="767"/>
                      <a:pt x="1516" y="794"/>
                      <a:pt x="1500" y="806"/>
                    </a:cubicBezTo>
                    <a:cubicBezTo>
                      <a:pt x="1505" y="821"/>
                      <a:pt x="1494" y="831"/>
                      <a:pt x="1500" y="847"/>
                    </a:cubicBezTo>
                    <a:cubicBezTo>
                      <a:pt x="1470" y="841"/>
                      <a:pt x="1457" y="858"/>
                      <a:pt x="1447" y="877"/>
                    </a:cubicBezTo>
                    <a:cubicBezTo>
                      <a:pt x="1411" y="878"/>
                      <a:pt x="1352" y="875"/>
                      <a:pt x="1329" y="874"/>
                    </a:cubicBezTo>
                    <a:cubicBezTo>
                      <a:pt x="1329" y="871"/>
                      <a:pt x="1334" y="872"/>
                      <a:pt x="1332" y="867"/>
                    </a:cubicBezTo>
                    <a:cubicBezTo>
                      <a:pt x="1321" y="866"/>
                      <a:pt x="1327" y="857"/>
                      <a:pt x="1318" y="855"/>
                    </a:cubicBezTo>
                    <a:cubicBezTo>
                      <a:pt x="1321" y="852"/>
                      <a:pt x="1321" y="847"/>
                      <a:pt x="1321" y="840"/>
                    </a:cubicBezTo>
                    <a:cubicBezTo>
                      <a:pt x="1298" y="847"/>
                      <a:pt x="1268" y="836"/>
                      <a:pt x="1272" y="810"/>
                    </a:cubicBezTo>
                    <a:cubicBezTo>
                      <a:pt x="1274" y="799"/>
                      <a:pt x="1290" y="796"/>
                      <a:pt x="1288" y="783"/>
                    </a:cubicBezTo>
                    <a:cubicBezTo>
                      <a:pt x="1272" y="788"/>
                      <a:pt x="1237" y="806"/>
                      <a:pt x="1229" y="786"/>
                    </a:cubicBezTo>
                    <a:cubicBezTo>
                      <a:pt x="1224" y="772"/>
                      <a:pt x="1242" y="767"/>
                      <a:pt x="1239" y="756"/>
                    </a:cubicBezTo>
                    <a:cubicBezTo>
                      <a:pt x="1206" y="761"/>
                      <a:pt x="1180" y="729"/>
                      <a:pt x="1198" y="702"/>
                    </a:cubicBezTo>
                    <a:cubicBezTo>
                      <a:pt x="1205" y="702"/>
                      <a:pt x="1205" y="702"/>
                      <a:pt x="1205" y="702"/>
                    </a:cubicBezTo>
                    <a:cubicBezTo>
                      <a:pt x="1211" y="684"/>
                      <a:pt x="1233" y="682"/>
                      <a:pt x="1250" y="676"/>
                    </a:cubicBezTo>
                    <a:cubicBezTo>
                      <a:pt x="1256" y="677"/>
                      <a:pt x="1258" y="681"/>
                      <a:pt x="1264" y="681"/>
                    </a:cubicBezTo>
                    <a:cubicBezTo>
                      <a:pt x="1268" y="665"/>
                      <a:pt x="1251" y="668"/>
                      <a:pt x="1251" y="653"/>
                    </a:cubicBezTo>
                    <a:cubicBezTo>
                      <a:pt x="1251" y="635"/>
                      <a:pt x="1281" y="614"/>
                      <a:pt x="1304" y="618"/>
                    </a:cubicBezTo>
                    <a:cubicBezTo>
                      <a:pt x="1324" y="621"/>
                      <a:pt x="1327" y="641"/>
                      <a:pt x="1340" y="651"/>
                    </a:cubicBezTo>
                    <a:cubicBezTo>
                      <a:pt x="1342" y="655"/>
                      <a:pt x="1340" y="665"/>
                      <a:pt x="1344" y="668"/>
                    </a:cubicBezTo>
                    <a:cubicBezTo>
                      <a:pt x="1352" y="666"/>
                      <a:pt x="1354" y="658"/>
                      <a:pt x="1363" y="656"/>
                    </a:cubicBezTo>
                    <a:cubicBezTo>
                      <a:pt x="1386" y="661"/>
                      <a:pt x="1402" y="675"/>
                      <a:pt x="1399" y="708"/>
                    </a:cubicBezTo>
                    <a:cubicBezTo>
                      <a:pt x="1395" y="719"/>
                      <a:pt x="1384" y="723"/>
                      <a:pt x="1384" y="738"/>
                    </a:cubicBezTo>
                    <a:cubicBezTo>
                      <a:pt x="1400" y="739"/>
                      <a:pt x="1411" y="743"/>
                      <a:pt x="1414" y="754"/>
                    </a:cubicBezTo>
                    <a:cubicBezTo>
                      <a:pt x="1420" y="772"/>
                      <a:pt x="1396" y="786"/>
                      <a:pt x="1401" y="802"/>
                    </a:cubicBezTo>
                    <a:cubicBezTo>
                      <a:pt x="1394" y="810"/>
                      <a:pt x="1383" y="815"/>
                      <a:pt x="1373" y="822"/>
                    </a:cubicBezTo>
                    <a:cubicBezTo>
                      <a:pt x="1376" y="827"/>
                      <a:pt x="1383" y="818"/>
                      <a:pt x="1386" y="823"/>
                    </a:cubicBezTo>
                    <a:cubicBezTo>
                      <a:pt x="1375" y="831"/>
                      <a:pt x="1374" y="864"/>
                      <a:pt x="1387" y="871"/>
                    </a:cubicBezTo>
                    <a:cubicBezTo>
                      <a:pt x="1392" y="859"/>
                      <a:pt x="1380" y="831"/>
                      <a:pt x="1398" y="825"/>
                    </a:cubicBezTo>
                    <a:cubicBezTo>
                      <a:pt x="1422" y="826"/>
                      <a:pt x="1448" y="817"/>
                      <a:pt x="1473" y="821"/>
                    </a:cubicBezTo>
                    <a:cubicBezTo>
                      <a:pt x="1472" y="823"/>
                      <a:pt x="1471" y="823"/>
                      <a:pt x="1469" y="823"/>
                    </a:cubicBezTo>
                    <a:cubicBezTo>
                      <a:pt x="1472" y="829"/>
                      <a:pt x="1482" y="812"/>
                      <a:pt x="1490" y="810"/>
                    </a:cubicBezTo>
                    <a:cubicBezTo>
                      <a:pt x="1511" y="755"/>
                      <a:pt x="1551" y="716"/>
                      <a:pt x="1608" y="694"/>
                    </a:cubicBezTo>
                    <a:cubicBezTo>
                      <a:pt x="1655" y="698"/>
                      <a:pt x="1710" y="694"/>
                      <a:pt x="1753" y="691"/>
                    </a:cubicBezTo>
                    <a:cubicBezTo>
                      <a:pt x="1755" y="686"/>
                      <a:pt x="1749" y="685"/>
                      <a:pt x="1752" y="677"/>
                    </a:cubicBezTo>
                    <a:cubicBezTo>
                      <a:pt x="1768" y="673"/>
                      <a:pt x="1764" y="649"/>
                      <a:pt x="1783" y="648"/>
                    </a:cubicBezTo>
                    <a:cubicBezTo>
                      <a:pt x="1784" y="641"/>
                      <a:pt x="1779" y="637"/>
                      <a:pt x="1787" y="636"/>
                    </a:cubicBezTo>
                    <a:cubicBezTo>
                      <a:pt x="1801" y="650"/>
                      <a:pt x="1779" y="663"/>
                      <a:pt x="1777" y="678"/>
                    </a:cubicBezTo>
                    <a:cubicBezTo>
                      <a:pt x="1798" y="682"/>
                      <a:pt x="1817" y="624"/>
                      <a:pt x="1779" y="627"/>
                    </a:cubicBezTo>
                    <a:cubicBezTo>
                      <a:pt x="1773" y="606"/>
                      <a:pt x="1755" y="597"/>
                      <a:pt x="1731" y="594"/>
                    </a:cubicBezTo>
                    <a:cubicBezTo>
                      <a:pt x="1732" y="594"/>
                      <a:pt x="1732" y="593"/>
                      <a:pt x="1733" y="593"/>
                    </a:cubicBezTo>
                    <a:cubicBezTo>
                      <a:pt x="1730" y="592"/>
                      <a:pt x="1727" y="591"/>
                      <a:pt x="1724" y="591"/>
                    </a:cubicBezTo>
                    <a:cubicBezTo>
                      <a:pt x="1724" y="592"/>
                      <a:pt x="1725" y="594"/>
                      <a:pt x="1724" y="596"/>
                    </a:cubicBezTo>
                    <a:cubicBezTo>
                      <a:pt x="1707" y="592"/>
                      <a:pt x="1694" y="597"/>
                      <a:pt x="1680" y="595"/>
                    </a:cubicBezTo>
                    <a:cubicBezTo>
                      <a:pt x="1637" y="592"/>
                      <a:pt x="1617" y="555"/>
                      <a:pt x="1585" y="537"/>
                    </a:cubicBezTo>
                    <a:cubicBezTo>
                      <a:pt x="1567" y="539"/>
                      <a:pt x="1548" y="533"/>
                      <a:pt x="1530" y="532"/>
                    </a:cubicBezTo>
                    <a:cubicBezTo>
                      <a:pt x="1468" y="526"/>
                      <a:pt x="1401" y="536"/>
                      <a:pt x="1366" y="564"/>
                    </a:cubicBezTo>
                    <a:cubicBezTo>
                      <a:pt x="1351" y="587"/>
                      <a:pt x="1333" y="600"/>
                      <a:pt x="1296" y="597"/>
                    </a:cubicBezTo>
                    <a:cubicBezTo>
                      <a:pt x="1320" y="571"/>
                      <a:pt x="1350" y="551"/>
                      <a:pt x="1367" y="518"/>
                    </a:cubicBezTo>
                    <a:cubicBezTo>
                      <a:pt x="1362" y="514"/>
                      <a:pt x="1364" y="502"/>
                      <a:pt x="1361" y="497"/>
                    </a:cubicBezTo>
                    <a:cubicBezTo>
                      <a:pt x="1358" y="494"/>
                      <a:pt x="1352" y="495"/>
                      <a:pt x="1350" y="491"/>
                    </a:cubicBezTo>
                    <a:cubicBezTo>
                      <a:pt x="1346" y="437"/>
                      <a:pt x="1265" y="455"/>
                      <a:pt x="1220" y="448"/>
                    </a:cubicBezTo>
                    <a:cubicBezTo>
                      <a:pt x="1186" y="426"/>
                      <a:pt x="1158" y="379"/>
                      <a:pt x="1099" y="395"/>
                    </a:cubicBezTo>
                    <a:cubicBezTo>
                      <a:pt x="1115" y="396"/>
                      <a:pt x="1133" y="396"/>
                      <a:pt x="1143" y="404"/>
                    </a:cubicBezTo>
                    <a:cubicBezTo>
                      <a:pt x="1128" y="420"/>
                      <a:pt x="1105" y="427"/>
                      <a:pt x="1091" y="444"/>
                    </a:cubicBezTo>
                    <a:cubicBezTo>
                      <a:pt x="1093" y="453"/>
                      <a:pt x="1104" y="461"/>
                      <a:pt x="1104" y="467"/>
                    </a:cubicBezTo>
                    <a:cubicBezTo>
                      <a:pt x="1100" y="466"/>
                      <a:pt x="1097" y="467"/>
                      <a:pt x="1095" y="469"/>
                    </a:cubicBezTo>
                    <a:cubicBezTo>
                      <a:pt x="1079" y="441"/>
                      <a:pt x="1031" y="452"/>
                      <a:pt x="996" y="448"/>
                    </a:cubicBezTo>
                    <a:cubicBezTo>
                      <a:pt x="996" y="455"/>
                      <a:pt x="996" y="455"/>
                      <a:pt x="996" y="455"/>
                    </a:cubicBezTo>
                    <a:cubicBezTo>
                      <a:pt x="990" y="453"/>
                      <a:pt x="990" y="446"/>
                      <a:pt x="981" y="448"/>
                    </a:cubicBezTo>
                    <a:cubicBezTo>
                      <a:pt x="975" y="460"/>
                      <a:pt x="973" y="483"/>
                      <a:pt x="975" y="498"/>
                    </a:cubicBezTo>
                    <a:cubicBezTo>
                      <a:pt x="995" y="503"/>
                      <a:pt x="1011" y="504"/>
                      <a:pt x="1037" y="504"/>
                    </a:cubicBezTo>
                    <a:cubicBezTo>
                      <a:pt x="1027" y="514"/>
                      <a:pt x="1035" y="536"/>
                      <a:pt x="1040" y="546"/>
                    </a:cubicBezTo>
                    <a:cubicBezTo>
                      <a:pt x="1012" y="547"/>
                      <a:pt x="1006" y="570"/>
                      <a:pt x="988" y="581"/>
                    </a:cubicBezTo>
                    <a:cubicBezTo>
                      <a:pt x="972" y="563"/>
                      <a:pt x="993" y="508"/>
                      <a:pt x="970" y="502"/>
                    </a:cubicBezTo>
                    <a:cubicBezTo>
                      <a:pt x="971" y="524"/>
                      <a:pt x="974" y="550"/>
                      <a:pt x="974" y="578"/>
                    </a:cubicBezTo>
                    <a:cubicBezTo>
                      <a:pt x="964" y="577"/>
                      <a:pt x="957" y="583"/>
                      <a:pt x="947" y="578"/>
                    </a:cubicBezTo>
                    <a:cubicBezTo>
                      <a:pt x="958" y="563"/>
                      <a:pt x="952" y="529"/>
                      <a:pt x="954" y="502"/>
                    </a:cubicBezTo>
                    <a:cubicBezTo>
                      <a:pt x="956" y="481"/>
                      <a:pt x="970" y="461"/>
                      <a:pt x="957" y="451"/>
                    </a:cubicBezTo>
                    <a:cubicBezTo>
                      <a:pt x="955" y="450"/>
                      <a:pt x="953" y="451"/>
                      <a:pt x="953" y="449"/>
                    </a:cubicBezTo>
                    <a:cubicBezTo>
                      <a:pt x="919" y="456"/>
                      <a:pt x="884" y="437"/>
                      <a:pt x="865" y="455"/>
                    </a:cubicBezTo>
                    <a:cubicBezTo>
                      <a:pt x="854" y="465"/>
                      <a:pt x="856" y="480"/>
                      <a:pt x="848" y="496"/>
                    </a:cubicBezTo>
                    <a:cubicBezTo>
                      <a:pt x="872" y="505"/>
                      <a:pt x="899" y="497"/>
                      <a:pt x="935" y="499"/>
                    </a:cubicBezTo>
                    <a:cubicBezTo>
                      <a:pt x="933" y="504"/>
                      <a:pt x="937" y="504"/>
                      <a:pt x="937" y="508"/>
                    </a:cubicBezTo>
                    <a:cubicBezTo>
                      <a:pt x="941" y="510"/>
                      <a:pt x="945" y="502"/>
                      <a:pt x="947" y="508"/>
                    </a:cubicBezTo>
                    <a:cubicBezTo>
                      <a:pt x="943" y="529"/>
                      <a:pt x="950" y="562"/>
                      <a:pt x="937" y="575"/>
                    </a:cubicBezTo>
                    <a:cubicBezTo>
                      <a:pt x="903" y="555"/>
                      <a:pt x="903" y="512"/>
                      <a:pt x="864" y="506"/>
                    </a:cubicBezTo>
                    <a:cubicBezTo>
                      <a:pt x="851" y="504"/>
                      <a:pt x="840" y="504"/>
                      <a:pt x="825" y="505"/>
                    </a:cubicBezTo>
                    <a:cubicBezTo>
                      <a:pt x="768" y="508"/>
                      <a:pt x="700" y="507"/>
                      <a:pt x="631" y="509"/>
                    </a:cubicBezTo>
                    <a:cubicBezTo>
                      <a:pt x="631" y="504"/>
                      <a:pt x="631" y="504"/>
                      <a:pt x="631" y="504"/>
                    </a:cubicBezTo>
                    <a:cubicBezTo>
                      <a:pt x="611" y="503"/>
                      <a:pt x="591" y="494"/>
                      <a:pt x="593" y="477"/>
                    </a:cubicBezTo>
                    <a:cubicBezTo>
                      <a:pt x="594" y="468"/>
                      <a:pt x="608" y="466"/>
                      <a:pt x="605" y="453"/>
                    </a:cubicBezTo>
                    <a:cubicBezTo>
                      <a:pt x="585" y="456"/>
                      <a:pt x="567" y="440"/>
                      <a:pt x="569" y="422"/>
                    </a:cubicBezTo>
                    <a:cubicBezTo>
                      <a:pt x="571" y="402"/>
                      <a:pt x="596" y="400"/>
                      <a:pt x="614" y="393"/>
                    </a:cubicBezTo>
                    <a:cubicBezTo>
                      <a:pt x="611" y="380"/>
                      <a:pt x="598" y="376"/>
                      <a:pt x="599" y="363"/>
                    </a:cubicBezTo>
                    <a:cubicBezTo>
                      <a:pt x="600" y="348"/>
                      <a:pt x="623" y="332"/>
                      <a:pt x="639" y="329"/>
                    </a:cubicBezTo>
                    <a:cubicBezTo>
                      <a:pt x="657" y="312"/>
                      <a:pt x="682" y="331"/>
                      <a:pt x="694" y="342"/>
                    </a:cubicBezTo>
                    <a:cubicBezTo>
                      <a:pt x="703" y="353"/>
                      <a:pt x="695" y="372"/>
                      <a:pt x="694" y="384"/>
                    </a:cubicBezTo>
                    <a:cubicBezTo>
                      <a:pt x="704" y="384"/>
                      <a:pt x="719" y="365"/>
                      <a:pt x="727" y="380"/>
                    </a:cubicBezTo>
                    <a:cubicBezTo>
                      <a:pt x="746" y="369"/>
                      <a:pt x="758" y="399"/>
                      <a:pt x="749" y="418"/>
                    </a:cubicBezTo>
                    <a:cubicBezTo>
                      <a:pt x="765" y="420"/>
                      <a:pt x="775" y="425"/>
                      <a:pt x="778" y="435"/>
                    </a:cubicBezTo>
                    <a:cubicBezTo>
                      <a:pt x="784" y="458"/>
                      <a:pt x="760" y="484"/>
                      <a:pt x="756" y="503"/>
                    </a:cubicBezTo>
                    <a:cubicBezTo>
                      <a:pt x="763" y="504"/>
                      <a:pt x="765" y="501"/>
                      <a:pt x="770" y="501"/>
                    </a:cubicBezTo>
                    <a:cubicBezTo>
                      <a:pt x="785" y="472"/>
                      <a:pt x="814" y="440"/>
                      <a:pt x="856" y="449"/>
                    </a:cubicBezTo>
                    <a:cubicBezTo>
                      <a:pt x="842" y="457"/>
                      <a:pt x="834" y="478"/>
                      <a:pt x="836" y="494"/>
                    </a:cubicBezTo>
                    <a:cubicBezTo>
                      <a:pt x="845" y="494"/>
                      <a:pt x="845" y="494"/>
                      <a:pt x="845" y="494"/>
                    </a:cubicBezTo>
                    <a:cubicBezTo>
                      <a:pt x="845" y="487"/>
                      <a:pt x="846" y="474"/>
                      <a:pt x="851" y="465"/>
                    </a:cubicBezTo>
                    <a:cubicBezTo>
                      <a:pt x="864" y="443"/>
                      <a:pt x="909" y="413"/>
                      <a:pt x="936" y="403"/>
                    </a:cubicBezTo>
                    <a:cubicBezTo>
                      <a:pt x="948" y="399"/>
                      <a:pt x="953" y="403"/>
                      <a:pt x="961" y="405"/>
                    </a:cubicBezTo>
                    <a:cubicBezTo>
                      <a:pt x="964" y="405"/>
                      <a:pt x="962" y="400"/>
                      <a:pt x="964" y="399"/>
                    </a:cubicBezTo>
                    <a:cubicBezTo>
                      <a:pt x="999" y="401"/>
                      <a:pt x="1042" y="399"/>
                      <a:pt x="1072" y="397"/>
                    </a:cubicBezTo>
                    <a:cubicBezTo>
                      <a:pt x="1081" y="396"/>
                      <a:pt x="1092" y="404"/>
                      <a:pt x="1095" y="391"/>
                    </a:cubicBezTo>
                    <a:cubicBezTo>
                      <a:pt x="1057" y="386"/>
                      <a:pt x="993" y="397"/>
                      <a:pt x="954" y="391"/>
                    </a:cubicBezTo>
                    <a:cubicBezTo>
                      <a:pt x="953" y="371"/>
                      <a:pt x="953" y="371"/>
                      <a:pt x="953" y="371"/>
                    </a:cubicBezTo>
                    <a:cubicBezTo>
                      <a:pt x="950" y="366"/>
                      <a:pt x="943" y="365"/>
                      <a:pt x="941" y="359"/>
                    </a:cubicBezTo>
                    <a:cubicBezTo>
                      <a:pt x="942" y="346"/>
                      <a:pt x="936" y="341"/>
                      <a:pt x="936" y="329"/>
                    </a:cubicBezTo>
                    <a:cubicBezTo>
                      <a:pt x="929" y="326"/>
                      <a:pt x="925" y="319"/>
                      <a:pt x="920" y="314"/>
                    </a:cubicBezTo>
                    <a:cubicBezTo>
                      <a:pt x="884" y="307"/>
                      <a:pt x="843" y="316"/>
                      <a:pt x="812" y="305"/>
                    </a:cubicBezTo>
                    <a:cubicBezTo>
                      <a:pt x="791" y="288"/>
                      <a:pt x="793" y="253"/>
                      <a:pt x="766" y="241"/>
                    </a:cubicBezTo>
                    <a:cubicBezTo>
                      <a:pt x="756" y="236"/>
                      <a:pt x="735" y="235"/>
                      <a:pt x="722" y="235"/>
                    </a:cubicBezTo>
                    <a:cubicBezTo>
                      <a:pt x="656" y="236"/>
                      <a:pt x="569" y="227"/>
                      <a:pt x="513" y="233"/>
                    </a:cubicBezTo>
                    <a:cubicBezTo>
                      <a:pt x="518" y="227"/>
                      <a:pt x="526" y="222"/>
                      <a:pt x="527" y="216"/>
                    </a:cubicBezTo>
                    <a:cubicBezTo>
                      <a:pt x="535" y="181"/>
                      <a:pt x="494" y="154"/>
                      <a:pt x="457" y="152"/>
                    </a:cubicBezTo>
                    <a:cubicBezTo>
                      <a:pt x="439" y="152"/>
                      <a:pt x="414" y="154"/>
                      <a:pt x="402" y="145"/>
                    </a:cubicBezTo>
                    <a:cubicBezTo>
                      <a:pt x="392" y="138"/>
                      <a:pt x="379" y="127"/>
                      <a:pt x="369" y="119"/>
                    </a:cubicBezTo>
                    <a:cubicBezTo>
                      <a:pt x="364" y="115"/>
                      <a:pt x="361" y="107"/>
                      <a:pt x="355" y="103"/>
                    </a:cubicBezTo>
                    <a:cubicBezTo>
                      <a:pt x="330" y="89"/>
                      <a:pt x="291" y="95"/>
                      <a:pt x="257" y="99"/>
                    </a:cubicBezTo>
                    <a:cubicBezTo>
                      <a:pt x="234" y="101"/>
                      <a:pt x="214" y="97"/>
                      <a:pt x="190" y="100"/>
                    </a:cubicBezTo>
                    <a:cubicBezTo>
                      <a:pt x="154" y="105"/>
                      <a:pt x="146" y="127"/>
                      <a:pt x="110" y="139"/>
                    </a:cubicBezTo>
                    <a:cubicBezTo>
                      <a:pt x="80" y="131"/>
                      <a:pt x="56" y="150"/>
                      <a:pt x="39" y="158"/>
                    </a:cubicBezTo>
                    <a:cubicBezTo>
                      <a:pt x="55" y="142"/>
                      <a:pt x="58" y="105"/>
                      <a:pt x="33" y="97"/>
                    </a:cubicBezTo>
                    <a:cubicBezTo>
                      <a:pt x="48" y="67"/>
                      <a:pt x="44" y="31"/>
                      <a:pt x="10" y="26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6" y="6"/>
                      <a:pt x="3" y="3"/>
                      <a:pt x="0" y="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2" y="10"/>
                      <a:pt x="4" y="13"/>
                      <a:pt x="4" y="16"/>
                    </a:cubicBezTo>
                    <a:cubicBezTo>
                      <a:pt x="3" y="18"/>
                      <a:pt x="2" y="20"/>
                      <a:pt x="1" y="23"/>
                    </a:cubicBezTo>
                    <a:cubicBezTo>
                      <a:pt x="4" y="28"/>
                      <a:pt x="5" y="32"/>
                      <a:pt x="7" y="37"/>
                    </a:cubicBezTo>
                    <a:cubicBezTo>
                      <a:pt x="49" y="34"/>
                      <a:pt x="36" y="82"/>
                      <a:pt x="20" y="100"/>
                    </a:cubicBezTo>
                    <a:cubicBezTo>
                      <a:pt x="26" y="102"/>
                      <a:pt x="31" y="104"/>
                      <a:pt x="37" y="105"/>
                    </a:cubicBezTo>
                    <a:cubicBezTo>
                      <a:pt x="58" y="124"/>
                      <a:pt x="36" y="150"/>
                      <a:pt x="25" y="164"/>
                    </a:cubicBezTo>
                    <a:cubicBezTo>
                      <a:pt x="24" y="169"/>
                      <a:pt x="34" y="162"/>
                      <a:pt x="33" y="167"/>
                    </a:cubicBezTo>
                    <a:cubicBezTo>
                      <a:pt x="20" y="174"/>
                      <a:pt x="8" y="183"/>
                      <a:pt x="0" y="194"/>
                    </a:cubicBezTo>
                    <a:cubicBezTo>
                      <a:pt x="0" y="217"/>
                      <a:pt x="0" y="217"/>
                      <a:pt x="0" y="217"/>
                    </a:cubicBezTo>
                    <a:cubicBezTo>
                      <a:pt x="1" y="213"/>
                      <a:pt x="1" y="210"/>
                      <a:pt x="3" y="207"/>
                    </a:cubicBezTo>
                    <a:cubicBezTo>
                      <a:pt x="19" y="182"/>
                      <a:pt x="65" y="197"/>
                      <a:pt x="88" y="182"/>
                    </a:cubicBezTo>
                    <a:cubicBezTo>
                      <a:pt x="106" y="170"/>
                      <a:pt x="101" y="149"/>
                      <a:pt x="126" y="148"/>
                    </a:cubicBezTo>
                    <a:cubicBezTo>
                      <a:pt x="120" y="158"/>
                      <a:pt x="109" y="163"/>
                      <a:pt x="105" y="176"/>
                    </a:cubicBezTo>
                    <a:cubicBezTo>
                      <a:pt x="112" y="183"/>
                      <a:pt x="110" y="198"/>
                      <a:pt x="113" y="208"/>
                    </a:cubicBezTo>
                    <a:cubicBezTo>
                      <a:pt x="123" y="206"/>
                      <a:pt x="116" y="192"/>
                      <a:pt x="120" y="188"/>
                    </a:cubicBezTo>
                    <a:cubicBezTo>
                      <a:pt x="143" y="193"/>
                      <a:pt x="177" y="192"/>
                      <a:pt x="206" y="192"/>
                    </a:cubicBezTo>
                    <a:cubicBezTo>
                      <a:pt x="203" y="210"/>
                      <a:pt x="209" y="237"/>
                      <a:pt x="210" y="261"/>
                    </a:cubicBezTo>
                    <a:cubicBezTo>
                      <a:pt x="195" y="246"/>
                      <a:pt x="165" y="249"/>
                      <a:pt x="139" y="246"/>
                    </a:cubicBezTo>
                    <a:cubicBezTo>
                      <a:pt x="140" y="194"/>
                      <a:pt x="22" y="192"/>
                      <a:pt x="45" y="254"/>
                    </a:cubicBezTo>
                    <a:cubicBezTo>
                      <a:pt x="41" y="253"/>
                      <a:pt x="38" y="255"/>
                      <a:pt x="36" y="257"/>
                    </a:cubicBezTo>
                    <a:cubicBezTo>
                      <a:pt x="29" y="243"/>
                      <a:pt x="18" y="235"/>
                      <a:pt x="0" y="235"/>
                    </a:cubicBezTo>
                    <a:cubicBezTo>
                      <a:pt x="0" y="244"/>
                      <a:pt x="0" y="244"/>
                      <a:pt x="0" y="244"/>
                    </a:cubicBezTo>
                    <a:cubicBezTo>
                      <a:pt x="7" y="244"/>
                      <a:pt x="14" y="245"/>
                      <a:pt x="17" y="247"/>
                    </a:cubicBezTo>
                    <a:cubicBezTo>
                      <a:pt x="11" y="249"/>
                      <a:pt x="5" y="251"/>
                      <a:pt x="0" y="252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27" y="294"/>
                      <a:pt x="60" y="306"/>
                      <a:pt x="66" y="335"/>
                    </a:cubicBezTo>
                    <a:cubicBezTo>
                      <a:pt x="69" y="347"/>
                      <a:pt x="59" y="357"/>
                      <a:pt x="60" y="370"/>
                    </a:cubicBezTo>
                    <a:cubicBezTo>
                      <a:pt x="72" y="369"/>
                      <a:pt x="82" y="366"/>
                      <a:pt x="90" y="373"/>
                    </a:cubicBezTo>
                    <a:cubicBezTo>
                      <a:pt x="101" y="390"/>
                      <a:pt x="82" y="401"/>
                      <a:pt x="81" y="417"/>
                    </a:cubicBezTo>
                    <a:cubicBezTo>
                      <a:pt x="104" y="404"/>
                      <a:pt x="133" y="429"/>
                      <a:pt x="117" y="450"/>
                    </a:cubicBezTo>
                    <a:cubicBezTo>
                      <a:pt x="119" y="452"/>
                      <a:pt x="120" y="454"/>
                      <a:pt x="122" y="455"/>
                    </a:cubicBezTo>
                    <a:cubicBezTo>
                      <a:pt x="118" y="470"/>
                      <a:pt x="106" y="477"/>
                      <a:pt x="107" y="496"/>
                    </a:cubicBezTo>
                    <a:cubicBezTo>
                      <a:pt x="89" y="506"/>
                      <a:pt x="79" y="531"/>
                      <a:pt x="84" y="557"/>
                    </a:cubicBezTo>
                    <a:cubicBezTo>
                      <a:pt x="70" y="583"/>
                      <a:pt x="33" y="568"/>
                      <a:pt x="37" y="535"/>
                    </a:cubicBezTo>
                    <a:cubicBezTo>
                      <a:pt x="14" y="541"/>
                      <a:pt x="2" y="530"/>
                      <a:pt x="1" y="513"/>
                    </a:cubicBezTo>
                    <a:cubicBezTo>
                      <a:pt x="1" y="498"/>
                      <a:pt x="15" y="492"/>
                      <a:pt x="15" y="479"/>
                    </a:cubicBezTo>
                    <a:cubicBezTo>
                      <a:pt x="10" y="479"/>
                      <a:pt x="5" y="479"/>
                      <a:pt x="0" y="478"/>
                    </a:cubicBezTo>
                    <a:cubicBezTo>
                      <a:pt x="0" y="485"/>
                      <a:pt x="0" y="485"/>
                      <a:pt x="0" y="485"/>
                    </a:cubicBezTo>
                    <a:cubicBezTo>
                      <a:pt x="1" y="486"/>
                      <a:pt x="2" y="486"/>
                      <a:pt x="3" y="486"/>
                    </a:cubicBezTo>
                    <a:cubicBezTo>
                      <a:pt x="2" y="487"/>
                      <a:pt x="1" y="489"/>
                      <a:pt x="0" y="490"/>
                    </a:cubicBezTo>
                    <a:cubicBezTo>
                      <a:pt x="0" y="534"/>
                      <a:pt x="0" y="534"/>
                      <a:pt x="0" y="534"/>
                    </a:cubicBezTo>
                    <a:cubicBezTo>
                      <a:pt x="6" y="542"/>
                      <a:pt x="16" y="548"/>
                      <a:pt x="30" y="546"/>
                    </a:cubicBezTo>
                    <a:cubicBezTo>
                      <a:pt x="31" y="565"/>
                      <a:pt x="39" y="577"/>
                      <a:pt x="58" y="577"/>
                    </a:cubicBezTo>
                    <a:cubicBezTo>
                      <a:pt x="56" y="585"/>
                      <a:pt x="46" y="585"/>
                      <a:pt x="42" y="591"/>
                    </a:cubicBezTo>
                    <a:cubicBezTo>
                      <a:pt x="33" y="588"/>
                      <a:pt x="26" y="595"/>
                      <a:pt x="12" y="597"/>
                    </a:cubicBezTo>
                    <a:cubicBezTo>
                      <a:pt x="8" y="598"/>
                      <a:pt x="4" y="598"/>
                      <a:pt x="0" y="598"/>
                    </a:cubicBezTo>
                    <a:cubicBezTo>
                      <a:pt x="0" y="611"/>
                      <a:pt x="0" y="611"/>
                      <a:pt x="0" y="611"/>
                    </a:cubicBezTo>
                    <a:cubicBezTo>
                      <a:pt x="6" y="610"/>
                      <a:pt x="12" y="608"/>
                      <a:pt x="18" y="608"/>
                    </a:cubicBezTo>
                    <a:cubicBezTo>
                      <a:pt x="15" y="623"/>
                      <a:pt x="6" y="632"/>
                      <a:pt x="0" y="645"/>
                    </a:cubicBezTo>
                    <a:cubicBezTo>
                      <a:pt x="0" y="666"/>
                      <a:pt x="0" y="666"/>
                      <a:pt x="0" y="666"/>
                    </a:cubicBezTo>
                    <a:cubicBezTo>
                      <a:pt x="5" y="666"/>
                      <a:pt x="8" y="666"/>
                      <a:pt x="16" y="668"/>
                    </a:cubicBezTo>
                    <a:cubicBezTo>
                      <a:pt x="16" y="660"/>
                      <a:pt x="6" y="664"/>
                      <a:pt x="5" y="658"/>
                    </a:cubicBezTo>
                    <a:cubicBezTo>
                      <a:pt x="10" y="647"/>
                      <a:pt x="15" y="636"/>
                      <a:pt x="22" y="627"/>
                    </a:cubicBezTo>
                    <a:cubicBezTo>
                      <a:pt x="23" y="634"/>
                      <a:pt x="13" y="645"/>
                      <a:pt x="12" y="654"/>
                    </a:cubicBezTo>
                    <a:cubicBezTo>
                      <a:pt x="15" y="658"/>
                      <a:pt x="19" y="657"/>
                      <a:pt x="22" y="653"/>
                    </a:cubicBezTo>
                    <a:cubicBezTo>
                      <a:pt x="22" y="653"/>
                      <a:pt x="22" y="652"/>
                      <a:pt x="22" y="652"/>
                    </a:cubicBezTo>
                    <a:cubicBezTo>
                      <a:pt x="22" y="652"/>
                      <a:pt x="22" y="653"/>
                      <a:pt x="22" y="653"/>
                    </a:cubicBezTo>
                    <a:cubicBezTo>
                      <a:pt x="20" y="657"/>
                      <a:pt x="18" y="670"/>
                      <a:pt x="23" y="677"/>
                    </a:cubicBezTo>
                    <a:cubicBezTo>
                      <a:pt x="27" y="675"/>
                      <a:pt x="33" y="675"/>
                      <a:pt x="35" y="671"/>
                    </a:cubicBezTo>
                    <a:cubicBezTo>
                      <a:pt x="38" y="664"/>
                      <a:pt x="27" y="671"/>
                      <a:pt x="28" y="666"/>
                    </a:cubicBezTo>
                    <a:cubicBezTo>
                      <a:pt x="40" y="651"/>
                      <a:pt x="77" y="658"/>
                      <a:pt x="105" y="659"/>
                    </a:cubicBezTo>
                    <a:cubicBezTo>
                      <a:pt x="110" y="663"/>
                      <a:pt x="109" y="672"/>
                      <a:pt x="111" y="678"/>
                    </a:cubicBezTo>
                    <a:cubicBezTo>
                      <a:pt x="81" y="672"/>
                      <a:pt x="52" y="678"/>
                      <a:pt x="26" y="678"/>
                    </a:cubicBezTo>
                    <a:cubicBezTo>
                      <a:pt x="25" y="694"/>
                      <a:pt x="44" y="685"/>
                      <a:pt x="53" y="685"/>
                    </a:cubicBezTo>
                    <a:cubicBezTo>
                      <a:pt x="77" y="684"/>
                      <a:pt x="106" y="683"/>
                      <a:pt x="126" y="690"/>
                    </a:cubicBezTo>
                    <a:cubicBezTo>
                      <a:pt x="105" y="717"/>
                      <a:pt x="76" y="737"/>
                      <a:pt x="57" y="764"/>
                    </a:cubicBezTo>
                    <a:cubicBezTo>
                      <a:pt x="72" y="787"/>
                      <a:pt x="77" y="821"/>
                      <a:pt x="116" y="820"/>
                    </a:cubicBezTo>
                    <a:cubicBezTo>
                      <a:pt x="108" y="835"/>
                      <a:pt x="114" y="854"/>
                      <a:pt x="116" y="873"/>
                    </a:cubicBezTo>
                    <a:cubicBezTo>
                      <a:pt x="101" y="861"/>
                      <a:pt x="89" y="848"/>
                      <a:pt x="69" y="842"/>
                    </a:cubicBezTo>
                    <a:cubicBezTo>
                      <a:pt x="69" y="836"/>
                      <a:pt x="69" y="830"/>
                      <a:pt x="62" y="832"/>
                    </a:cubicBezTo>
                    <a:cubicBezTo>
                      <a:pt x="62" y="827"/>
                      <a:pt x="67" y="827"/>
                      <a:pt x="68" y="823"/>
                    </a:cubicBezTo>
                    <a:cubicBezTo>
                      <a:pt x="65" y="795"/>
                      <a:pt x="47" y="782"/>
                      <a:pt x="37" y="761"/>
                    </a:cubicBezTo>
                    <a:cubicBezTo>
                      <a:pt x="25" y="760"/>
                      <a:pt x="12" y="758"/>
                      <a:pt x="0" y="760"/>
                    </a:cubicBezTo>
                    <a:cubicBezTo>
                      <a:pt x="0" y="763"/>
                      <a:pt x="0" y="766"/>
                      <a:pt x="0" y="770"/>
                    </a:cubicBezTo>
                    <a:cubicBezTo>
                      <a:pt x="0" y="770"/>
                      <a:pt x="0" y="770"/>
                      <a:pt x="0" y="771"/>
                    </a:cubicBezTo>
                    <a:cubicBezTo>
                      <a:pt x="0" y="816"/>
                      <a:pt x="0" y="816"/>
                      <a:pt x="0" y="816"/>
                    </a:cubicBezTo>
                    <a:cubicBezTo>
                      <a:pt x="1" y="816"/>
                      <a:pt x="2" y="815"/>
                      <a:pt x="3" y="815"/>
                    </a:cubicBezTo>
                    <a:cubicBezTo>
                      <a:pt x="3" y="824"/>
                      <a:pt x="3" y="824"/>
                      <a:pt x="3" y="824"/>
                    </a:cubicBezTo>
                    <a:cubicBezTo>
                      <a:pt x="28" y="821"/>
                      <a:pt x="43" y="830"/>
                      <a:pt x="60" y="835"/>
                    </a:cubicBezTo>
                    <a:cubicBezTo>
                      <a:pt x="51" y="852"/>
                      <a:pt x="20" y="832"/>
                      <a:pt x="2" y="842"/>
                    </a:cubicBezTo>
                    <a:cubicBezTo>
                      <a:pt x="2" y="846"/>
                      <a:pt x="5" y="847"/>
                      <a:pt x="5" y="850"/>
                    </a:cubicBezTo>
                    <a:cubicBezTo>
                      <a:pt x="29" y="851"/>
                      <a:pt x="57" y="851"/>
                      <a:pt x="71" y="853"/>
                    </a:cubicBezTo>
                    <a:cubicBezTo>
                      <a:pt x="57" y="870"/>
                      <a:pt x="38" y="891"/>
                      <a:pt x="25" y="914"/>
                    </a:cubicBezTo>
                    <a:cubicBezTo>
                      <a:pt x="19" y="923"/>
                      <a:pt x="8" y="930"/>
                      <a:pt x="7" y="937"/>
                    </a:cubicBezTo>
                    <a:cubicBezTo>
                      <a:pt x="6" y="947"/>
                      <a:pt x="16" y="961"/>
                      <a:pt x="22" y="970"/>
                    </a:cubicBezTo>
                    <a:cubicBezTo>
                      <a:pt x="36" y="992"/>
                      <a:pt x="45" y="1013"/>
                      <a:pt x="75" y="1019"/>
                    </a:cubicBezTo>
                    <a:cubicBezTo>
                      <a:pt x="80" y="1019"/>
                      <a:pt x="78" y="1013"/>
                      <a:pt x="80" y="1010"/>
                    </a:cubicBezTo>
                    <a:cubicBezTo>
                      <a:pt x="92" y="1008"/>
                      <a:pt x="96" y="1014"/>
                      <a:pt x="108" y="1013"/>
                    </a:cubicBezTo>
                    <a:cubicBezTo>
                      <a:pt x="108" y="1048"/>
                      <a:pt x="138" y="1052"/>
                      <a:pt x="171" y="1052"/>
                    </a:cubicBezTo>
                    <a:cubicBezTo>
                      <a:pt x="163" y="1075"/>
                      <a:pt x="192" y="1094"/>
                      <a:pt x="209" y="1079"/>
                    </a:cubicBezTo>
                    <a:cubicBezTo>
                      <a:pt x="209" y="1095"/>
                      <a:pt x="225" y="1110"/>
                      <a:pt x="237" y="1096"/>
                    </a:cubicBezTo>
                    <a:cubicBezTo>
                      <a:pt x="259" y="1098"/>
                      <a:pt x="277" y="1101"/>
                      <a:pt x="292" y="1099"/>
                    </a:cubicBezTo>
                    <a:cubicBezTo>
                      <a:pt x="288" y="1108"/>
                      <a:pt x="284" y="1117"/>
                      <a:pt x="280" y="1125"/>
                    </a:cubicBezTo>
                    <a:cubicBezTo>
                      <a:pt x="259" y="1106"/>
                      <a:pt x="210" y="1117"/>
                      <a:pt x="185" y="1113"/>
                    </a:cubicBezTo>
                    <a:cubicBezTo>
                      <a:pt x="166" y="1059"/>
                      <a:pt x="107" y="1043"/>
                      <a:pt x="35" y="1050"/>
                    </a:cubicBezTo>
                    <a:cubicBezTo>
                      <a:pt x="39" y="1019"/>
                      <a:pt x="26" y="985"/>
                      <a:pt x="5" y="969"/>
                    </a:cubicBezTo>
                    <a:cubicBezTo>
                      <a:pt x="8" y="960"/>
                      <a:pt x="13" y="974"/>
                      <a:pt x="17" y="976"/>
                    </a:cubicBezTo>
                    <a:cubicBezTo>
                      <a:pt x="13" y="967"/>
                      <a:pt x="9" y="958"/>
                      <a:pt x="0" y="954"/>
                    </a:cubicBezTo>
                    <a:cubicBezTo>
                      <a:pt x="0" y="1019"/>
                      <a:pt x="0" y="1019"/>
                      <a:pt x="0" y="1019"/>
                    </a:cubicBezTo>
                    <a:cubicBezTo>
                      <a:pt x="7" y="1021"/>
                      <a:pt x="15" y="1020"/>
                      <a:pt x="23" y="1018"/>
                    </a:cubicBezTo>
                    <a:cubicBezTo>
                      <a:pt x="30" y="1024"/>
                      <a:pt x="27" y="1039"/>
                      <a:pt x="31" y="1048"/>
                    </a:cubicBezTo>
                    <a:cubicBezTo>
                      <a:pt x="25" y="1053"/>
                      <a:pt x="10" y="1044"/>
                      <a:pt x="8" y="1056"/>
                    </a:cubicBezTo>
                    <a:cubicBezTo>
                      <a:pt x="48" y="1061"/>
                      <a:pt x="99" y="1053"/>
                      <a:pt x="131" y="1067"/>
                    </a:cubicBezTo>
                    <a:cubicBezTo>
                      <a:pt x="116" y="1109"/>
                      <a:pt x="77" y="1129"/>
                      <a:pt x="42" y="1152"/>
                    </a:cubicBezTo>
                    <a:cubicBezTo>
                      <a:pt x="48" y="1168"/>
                      <a:pt x="60" y="1188"/>
                      <a:pt x="66" y="1197"/>
                    </a:cubicBezTo>
                    <a:cubicBezTo>
                      <a:pt x="57" y="1196"/>
                      <a:pt x="50" y="1193"/>
                      <a:pt x="38" y="1195"/>
                    </a:cubicBezTo>
                    <a:cubicBezTo>
                      <a:pt x="38" y="1188"/>
                      <a:pt x="47" y="1192"/>
                      <a:pt x="47" y="1186"/>
                    </a:cubicBezTo>
                    <a:cubicBezTo>
                      <a:pt x="35" y="1173"/>
                      <a:pt x="43" y="1147"/>
                      <a:pt x="30" y="1142"/>
                    </a:cubicBezTo>
                    <a:cubicBezTo>
                      <a:pt x="30" y="1142"/>
                      <a:pt x="21" y="1147"/>
                      <a:pt x="21" y="1147"/>
                    </a:cubicBezTo>
                    <a:cubicBezTo>
                      <a:pt x="17" y="1148"/>
                      <a:pt x="6" y="1145"/>
                      <a:pt x="0" y="1149"/>
                    </a:cubicBezTo>
                    <a:cubicBezTo>
                      <a:pt x="0" y="1221"/>
                      <a:pt x="0" y="1221"/>
                      <a:pt x="0" y="1221"/>
                    </a:cubicBezTo>
                    <a:cubicBezTo>
                      <a:pt x="15" y="1207"/>
                      <a:pt x="33" y="1203"/>
                      <a:pt x="59" y="1205"/>
                    </a:cubicBezTo>
                    <a:cubicBezTo>
                      <a:pt x="102" y="1208"/>
                      <a:pt x="147" y="1201"/>
                      <a:pt x="192" y="1203"/>
                    </a:cubicBezTo>
                    <a:cubicBezTo>
                      <a:pt x="171" y="1228"/>
                      <a:pt x="142" y="1246"/>
                      <a:pt x="123" y="1272"/>
                    </a:cubicBezTo>
                    <a:cubicBezTo>
                      <a:pt x="141" y="1283"/>
                      <a:pt x="140" y="1319"/>
                      <a:pt x="161" y="1323"/>
                    </a:cubicBezTo>
                    <a:cubicBezTo>
                      <a:pt x="199" y="1330"/>
                      <a:pt x="207" y="1265"/>
                      <a:pt x="241" y="1259"/>
                    </a:cubicBezTo>
                    <a:cubicBezTo>
                      <a:pt x="243" y="1255"/>
                      <a:pt x="245" y="1256"/>
                      <a:pt x="243" y="1250"/>
                    </a:cubicBezTo>
                    <a:cubicBezTo>
                      <a:pt x="258" y="1247"/>
                      <a:pt x="269" y="1259"/>
                      <a:pt x="284" y="1267"/>
                    </a:cubicBezTo>
                    <a:cubicBezTo>
                      <a:pt x="269" y="1291"/>
                      <a:pt x="292" y="1316"/>
                      <a:pt x="315" y="1317"/>
                    </a:cubicBezTo>
                    <a:cubicBezTo>
                      <a:pt x="313" y="1325"/>
                      <a:pt x="307" y="1327"/>
                      <a:pt x="304" y="1334"/>
                    </a:cubicBezTo>
                    <a:cubicBezTo>
                      <a:pt x="272" y="1320"/>
                      <a:pt x="228" y="1326"/>
                      <a:pt x="180" y="1324"/>
                    </a:cubicBezTo>
                    <a:cubicBezTo>
                      <a:pt x="177" y="1326"/>
                      <a:pt x="172" y="1327"/>
                      <a:pt x="172" y="1333"/>
                    </a:cubicBezTo>
                    <a:cubicBezTo>
                      <a:pt x="204" y="1332"/>
                      <a:pt x="248" y="1333"/>
                      <a:pt x="278" y="1336"/>
                    </a:cubicBezTo>
                    <a:cubicBezTo>
                      <a:pt x="277" y="1341"/>
                      <a:pt x="276" y="1347"/>
                      <a:pt x="275" y="1352"/>
                    </a:cubicBezTo>
                    <a:cubicBezTo>
                      <a:pt x="233" y="1345"/>
                      <a:pt x="179" y="1351"/>
                      <a:pt x="135" y="1350"/>
                    </a:cubicBezTo>
                    <a:cubicBezTo>
                      <a:pt x="147" y="1322"/>
                      <a:pt x="139" y="1309"/>
                      <a:pt x="125" y="1283"/>
                    </a:cubicBezTo>
                    <a:cubicBezTo>
                      <a:pt x="109" y="1253"/>
                      <a:pt x="79" y="1268"/>
                      <a:pt x="34" y="1262"/>
                    </a:cubicBezTo>
                    <a:cubicBezTo>
                      <a:pt x="31" y="1265"/>
                      <a:pt x="28" y="1267"/>
                      <a:pt x="29" y="1274"/>
                    </a:cubicBezTo>
                    <a:cubicBezTo>
                      <a:pt x="20" y="1273"/>
                      <a:pt x="18" y="1264"/>
                      <a:pt x="11" y="1261"/>
                    </a:cubicBezTo>
                    <a:cubicBezTo>
                      <a:pt x="7" y="1261"/>
                      <a:pt x="3" y="1261"/>
                      <a:pt x="0" y="1261"/>
                    </a:cubicBezTo>
                    <a:cubicBezTo>
                      <a:pt x="0" y="1339"/>
                      <a:pt x="0" y="1339"/>
                      <a:pt x="0" y="1339"/>
                    </a:cubicBezTo>
                    <a:cubicBezTo>
                      <a:pt x="1" y="1350"/>
                      <a:pt x="2" y="1361"/>
                      <a:pt x="1" y="1376"/>
                    </a:cubicBezTo>
                    <a:cubicBezTo>
                      <a:pt x="1" y="1376"/>
                      <a:pt x="1" y="1377"/>
                      <a:pt x="0" y="1377"/>
                    </a:cubicBezTo>
                    <a:cubicBezTo>
                      <a:pt x="0" y="1404"/>
                      <a:pt x="0" y="1404"/>
                      <a:pt x="0" y="1404"/>
                    </a:cubicBezTo>
                    <a:cubicBezTo>
                      <a:pt x="3" y="1403"/>
                      <a:pt x="8" y="1405"/>
                      <a:pt x="11" y="1404"/>
                    </a:cubicBezTo>
                    <a:cubicBezTo>
                      <a:pt x="15" y="1396"/>
                      <a:pt x="5" y="1398"/>
                      <a:pt x="7" y="1388"/>
                    </a:cubicBezTo>
                    <a:cubicBezTo>
                      <a:pt x="8" y="1387"/>
                      <a:pt x="9" y="1385"/>
                      <a:pt x="10" y="1383"/>
                    </a:cubicBezTo>
                    <a:cubicBezTo>
                      <a:pt x="23" y="1382"/>
                      <a:pt x="23" y="1382"/>
                      <a:pt x="23" y="1382"/>
                    </a:cubicBezTo>
                    <a:cubicBezTo>
                      <a:pt x="22" y="1392"/>
                      <a:pt x="32" y="1390"/>
                      <a:pt x="35" y="1394"/>
                    </a:cubicBezTo>
                    <a:cubicBezTo>
                      <a:pt x="40" y="1392"/>
                      <a:pt x="35" y="1385"/>
                      <a:pt x="35" y="1382"/>
                    </a:cubicBezTo>
                    <a:cubicBezTo>
                      <a:pt x="47" y="1382"/>
                      <a:pt x="47" y="1382"/>
                      <a:pt x="47" y="1382"/>
                    </a:cubicBezTo>
                    <a:cubicBezTo>
                      <a:pt x="42" y="1395"/>
                      <a:pt x="28" y="1399"/>
                      <a:pt x="22" y="1411"/>
                    </a:cubicBezTo>
                    <a:cubicBezTo>
                      <a:pt x="15" y="1409"/>
                      <a:pt x="9" y="1407"/>
                      <a:pt x="0" y="1408"/>
                    </a:cubicBezTo>
                    <a:cubicBezTo>
                      <a:pt x="0" y="1422"/>
                      <a:pt x="0" y="1422"/>
                      <a:pt x="0" y="1422"/>
                    </a:cubicBezTo>
                    <a:cubicBezTo>
                      <a:pt x="1" y="1422"/>
                      <a:pt x="3" y="1422"/>
                      <a:pt x="4" y="1422"/>
                    </a:cubicBezTo>
                    <a:close/>
                    <a:moveTo>
                      <a:pt x="713" y="1392"/>
                    </a:moveTo>
                    <a:cubicBezTo>
                      <a:pt x="711" y="1382"/>
                      <a:pt x="716" y="1378"/>
                      <a:pt x="716" y="1370"/>
                    </a:cubicBezTo>
                    <a:cubicBezTo>
                      <a:pt x="719" y="1375"/>
                      <a:pt x="718" y="1390"/>
                      <a:pt x="713" y="1392"/>
                    </a:cubicBezTo>
                    <a:close/>
                    <a:moveTo>
                      <a:pt x="765" y="1368"/>
                    </a:moveTo>
                    <a:cubicBezTo>
                      <a:pt x="771" y="1377"/>
                      <a:pt x="778" y="1390"/>
                      <a:pt x="768" y="1399"/>
                    </a:cubicBezTo>
                    <a:cubicBezTo>
                      <a:pt x="764" y="1397"/>
                      <a:pt x="762" y="1393"/>
                      <a:pt x="760" y="1389"/>
                    </a:cubicBezTo>
                    <a:cubicBezTo>
                      <a:pt x="756" y="1392"/>
                      <a:pt x="754" y="1396"/>
                      <a:pt x="748" y="1393"/>
                    </a:cubicBezTo>
                    <a:cubicBezTo>
                      <a:pt x="743" y="1380"/>
                      <a:pt x="750" y="1367"/>
                      <a:pt x="765" y="1368"/>
                    </a:cubicBezTo>
                    <a:close/>
                    <a:moveTo>
                      <a:pt x="726" y="1352"/>
                    </a:moveTo>
                    <a:cubicBezTo>
                      <a:pt x="731" y="1358"/>
                      <a:pt x="720" y="1363"/>
                      <a:pt x="719" y="1369"/>
                    </a:cubicBezTo>
                    <a:cubicBezTo>
                      <a:pt x="715" y="1364"/>
                      <a:pt x="724" y="1357"/>
                      <a:pt x="726" y="1352"/>
                    </a:cubicBezTo>
                    <a:close/>
                    <a:moveTo>
                      <a:pt x="596" y="1304"/>
                    </a:moveTo>
                    <a:cubicBezTo>
                      <a:pt x="638" y="1311"/>
                      <a:pt x="679" y="1299"/>
                      <a:pt x="714" y="1309"/>
                    </a:cubicBezTo>
                    <a:cubicBezTo>
                      <a:pt x="714" y="1316"/>
                      <a:pt x="711" y="1344"/>
                      <a:pt x="720" y="1344"/>
                    </a:cubicBezTo>
                    <a:cubicBezTo>
                      <a:pt x="721" y="1352"/>
                      <a:pt x="707" y="1361"/>
                      <a:pt x="707" y="1374"/>
                    </a:cubicBezTo>
                    <a:cubicBezTo>
                      <a:pt x="687" y="1370"/>
                      <a:pt x="655" y="1372"/>
                      <a:pt x="620" y="1371"/>
                    </a:cubicBezTo>
                    <a:cubicBezTo>
                      <a:pt x="611" y="1370"/>
                      <a:pt x="595" y="1373"/>
                      <a:pt x="593" y="1361"/>
                    </a:cubicBezTo>
                    <a:cubicBezTo>
                      <a:pt x="612" y="1363"/>
                      <a:pt x="635" y="1362"/>
                      <a:pt x="657" y="1363"/>
                    </a:cubicBezTo>
                    <a:cubicBezTo>
                      <a:pt x="677" y="1364"/>
                      <a:pt x="701" y="1367"/>
                      <a:pt x="708" y="1353"/>
                    </a:cubicBezTo>
                    <a:cubicBezTo>
                      <a:pt x="673" y="1355"/>
                      <a:pt x="632" y="1355"/>
                      <a:pt x="593" y="1352"/>
                    </a:cubicBezTo>
                    <a:cubicBezTo>
                      <a:pt x="591" y="1333"/>
                      <a:pt x="596" y="1321"/>
                      <a:pt x="596" y="1304"/>
                    </a:cubicBezTo>
                    <a:close/>
                    <a:moveTo>
                      <a:pt x="586" y="1359"/>
                    </a:moveTo>
                    <a:cubicBezTo>
                      <a:pt x="586" y="1370"/>
                      <a:pt x="586" y="1370"/>
                      <a:pt x="586" y="1370"/>
                    </a:cubicBezTo>
                    <a:cubicBezTo>
                      <a:pt x="576" y="1370"/>
                      <a:pt x="576" y="1370"/>
                      <a:pt x="576" y="1370"/>
                    </a:cubicBezTo>
                    <a:cubicBezTo>
                      <a:pt x="575" y="1362"/>
                      <a:pt x="577" y="1358"/>
                      <a:pt x="586" y="1359"/>
                    </a:cubicBezTo>
                    <a:close/>
                    <a:moveTo>
                      <a:pt x="567" y="1298"/>
                    </a:moveTo>
                    <a:cubicBezTo>
                      <a:pt x="564" y="1313"/>
                      <a:pt x="569" y="1332"/>
                      <a:pt x="567" y="1351"/>
                    </a:cubicBezTo>
                    <a:cubicBezTo>
                      <a:pt x="554" y="1351"/>
                      <a:pt x="542" y="1352"/>
                      <a:pt x="531" y="1350"/>
                    </a:cubicBezTo>
                    <a:cubicBezTo>
                      <a:pt x="527" y="1350"/>
                      <a:pt x="534" y="1353"/>
                      <a:pt x="531" y="1357"/>
                    </a:cubicBezTo>
                    <a:cubicBezTo>
                      <a:pt x="538" y="1364"/>
                      <a:pt x="557" y="1358"/>
                      <a:pt x="569" y="1360"/>
                    </a:cubicBezTo>
                    <a:cubicBezTo>
                      <a:pt x="569" y="1381"/>
                      <a:pt x="530" y="1358"/>
                      <a:pt x="530" y="1375"/>
                    </a:cubicBezTo>
                    <a:cubicBezTo>
                      <a:pt x="526" y="1344"/>
                      <a:pt x="516" y="1319"/>
                      <a:pt x="485" y="1317"/>
                    </a:cubicBezTo>
                    <a:cubicBezTo>
                      <a:pt x="484" y="1298"/>
                      <a:pt x="484" y="1298"/>
                      <a:pt x="484" y="1298"/>
                    </a:cubicBezTo>
                    <a:cubicBezTo>
                      <a:pt x="506" y="1304"/>
                      <a:pt x="541" y="1301"/>
                      <a:pt x="567" y="1298"/>
                    </a:cubicBezTo>
                    <a:close/>
                    <a:moveTo>
                      <a:pt x="475" y="1365"/>
                    </a:moveTo>
                    <a:cubicBezTo>
                      <a:pt x="475" y="1362"/>
                      <a:pt x="470" y="1363"/>
                      <a:pt x="471" y="1358"/>
                    </a:cubicBezTo>
                    <a:cubicBezTo>
                      <a:pt x="487" y="1347"/>
                      <a:pt x="508" y="1361"/>
                      <a:pt x="496" y="1379"/>
                    </a:cubicBezTo>
                    <a:cubicBezTo>
                      <a:pt x="488" y="1374"/>
                      <a:pt x="486" y="1383"/>
                      <a:pt x="479" y="1385"/>
                    </a:cubicBezTo>
                    <a:cubicBezTo>
                      <a:pt x="470" y="1384"/>
                      <a:pt x="463" y="1367"/>
                      <a:pt x="475" y="1365"/>
                    </a:cubicBezTo>
                    <a:close/>
                    <a:moveTo>
                      <a:pt x="409" y="1354"/>
                    </a:moveTo>
                    <a:cubicBezTo>
                      <a:pt x="411" y="1357"/>
                      <a:pt x="411" y="1361"/>
                      <a:pt x="415" y="1361"/>
                    </a:cubicBezTo>
                    <a:cubicBezTo>
                      <a:pt x="408" y="1371"/>
                      <a:pt x="388" y="1364"/>
                      <a:pt x="379" y="1360"/>
                    </a:cubicBezTo>
                    <a:cubicBezTo>
                      <a:pt x="381" y="1358"/>
                      <a:pt x="382" y="1355"/>
                      <a:pt x="381" y="1351"/>
                    </a:cubicBezTo>
                    <a:cubicBezTo>
                      <a:pt x="394" y="1349"/>
                      <a:pt x="397" y="1357"/>
                      <a:pt x="409" y="1354"/>
                    </a:cubicBezTo>
                    <a:close/>
                    <a:moveTo>
                      <a:pt x="1492" y="1150"/>
                    </a:moveTo>
                    <a:cubicBezTo>
                      <a:pt x="1488" y="1149"/>
                      <a:pt x="1491" y="1141"/>
                      <a:pt x="1490" y="1137"/>
                    </a:cubicBezTo>
                    <a:cubicBezTo>
                      <a:pt x="1497" y="1139"/>
                      <a:pt x="1495" y="1146"/>
                      <a:pt x="1492" y="1150"/>
                    </a:cubicBezTo>
                    <a:close/>
                    <a:moveTo>
                      <a:pt x="1494" y="1130"/>
                    </a:moveTo>
                    <a:cubicBezTo>
                      <a:pt x="1493" y="1125"/>
                      <a:pt x="1497" y="1125"/>
                      <a:pt x="1497" y="1119"/>
                    </a:cubicBezTo>
                    <a:cubicBezTo>
                      <a:pt x="1502" y="1117"/>
                      <a:pt x="1499" y="1132"/>
                      <a:pt x="1494" y="1130"/>
                    </a:cubicBezTo>
                    <a:close/>
                    <a:moveTo>
                      <a:pt x="1512" y="1101"/>
                    </a:moveTo>
                    <a:cubicBezTo>
                      <a:pt x="1510" y="1094"/>
                      <a:pt x="1524" y="1086"/>
                      <a:pt x="1535" y="1090"/>
                    </a:cubicBezTo>
                    <a:cubicBezTo>
                      <a:pt x="1531" y="1098"/>
                      <a:pt x="1515" y="1093"/>
                      <a:pt x="1512" y="1101"/>
                    </a:cubicBezTo>
                    <a:close/>
                    <a:moveTo>
                      <a:pt x="1522" y="1149"/>
                    </a:moveTo>
                    <a:cubicBezTo>
                      <a:pt x="1519" y="1138"/>
                      <a:pt x="1529" y="1121"/>
                      <a:pt x="1548" y="1124"/>
                    </a:cubicBezTo>
                    <a:cubicBezTo>
                      <a:pt x="1550" y="1128"/>
                      <a:pt x="1545" y="1127"/>
                      <a:pt x="1545" y="1131"/>
                    </a:cubicBezTo>
                    <a:cubicBezTo>
                      <a:pt x="1550" y="1133"/>
                      <a:pt x="1559" y="1131"/>
                      <a:pt x="1563" y="1136"/>
                    </a:cubicBezTo>
                    <a:cubicBezTo>
                      <a:pt x="1564" y="1158"/>
                      <a:pt x="1528" y="1167"/>
                      <a:pt x="1522" y="1149"/>
                    </a:cubicBezTo>
                    <a:close/>
                    <a:moveTo>
                      <a:pt x="1637" y="1069"/>
                    </a:moveTo>
                    <a:cubicBezTo>
                      <a:pt x="1646" y="1069"/>
                      <a:pt x="1638" y="1087"/>
                      <a:pt x="1648" y="1086"/>
                    </a:cubicBezTo>
                    <a:cubicBezTo>
                      <a:pt x="1643" y="1097"/>
                      <a:pt x="1632" y="1103"/>
                      <a:pt x="1620" y="1108"/>
                    </a:cubicBezTo>
                    <a:cubicBezTo>
                      <a:pt x="1622" y="1091"/>
                      <a:pt x="1627" y="1077"/>
                      <a:pt x="1637" y="1069"/>
                    </a:cubicBezTo>
                    <a:close/>
                    <a:moveTo>
                      <a:pt x="1693" y="1028"/>
                    </a:moveTo>
                    <a:cubicBezTo>
                      <a:pt x="1693" y="1024"/>
                      <a:pt x="1692" y="1020"/>
                      <a:pt x="1694" y="1018"/>
                    </a:cubicBezTo>
                    <a:cubicBezTo>
                      <a:pt x="1706" y="1044"/>
                      <a:pt x="1683" y="1063"/>
                      <a:pt x="1668" y="1086"/>
                    </a:cubicBezTo>
                    <a:cubicBezTo>
                      <a:pt x="1651" y="1109"/>
                      <a:pt x="1643" y="1141"/>
                      <a:pt x="1602" y="1137"/>
                    </a:cubicBezTo>
                    <a:cubicBezTo>
                      <a:pt x="1595" y="1139"/>
                      <a:pt x="1609" y="1143"/>
                      <a:pt x="1602" y="1145"/>
                    </a:cubicBezTo>
                    <a:cubicBezTo>
                      <a:pt x="1592" y="1143"/>
                      <a:pt x="1600" y="1124"/>
                      <a:pt x="1598" y="1117"/>
                    </a:cubicBezTo>
                    <a:cubicBezTo>
                      <a:pt x="1665" y="1122"/>
                      <a:pt x="1662" y="1059"/>
                      <a:pt x="1693" y="1028"/>
                    </a:cubicBezTo>
                    <a:close/>
                    <a:moveTo>
                      <a:pt x="1682" y="1027"/>
                    </a:moveTo>
                    <a:cubicBezTo>
                      <a:pt x="1674" y="1022"/>
                      <a:pt x="1678" y="1010"/>
                      <a:pt x="1682" y="1004"/>
                    </a:cubicBezTo>
                    <a:cubicBezTo>
                      <a:pt x="1686" y="1008"/>
                      <a:pt x="1684" y="1022"/>
                      <a:pt x="1682" y="1027"/>
                    </a:cubicBezTo>
                    <a:close/>
                    <a:moveTo>
                      <a:pt x="1678" y="977"/>
                    </a:moveTo>
                    <a:cubicBezTo>
                      <a:pt x="1690" y="995"/>
                      <a:pt x="1650" y="1026"/>
                      <a:pt x="1681" y="1032"/>
                    </a:cubicBezTo>
                    <a:cubicBezTo>
                      <a:pt x="1669" y="1048"/>
                      <a:pt x="1662" y="1068"/>
                      <a:pt x="1650" y="1082"/>
                    </a:cubicBezTo>
                    <a:cubicBezTo>
                      <a:pt x="1649" y="1070"/>
                      <a:pt x="1648" y="1052"/>
                      <a:pt x="1637" y="1056"/>
                    </a:cubicBezTo>
                    <a:cubicBezTo>
                      <a:pt x="1646" y="1026"/>
                      <a:pt x="1669" y="1008"/>
                      <a:pt x="1678" y="977"/>
                    </a:cubicBezTo>
                    <a:close/>
                    <a:moveTo>
                      <a:pt x="1933" y="864"/>
                    </a:moveTo>
                    <a:cubicBezTo>
                      <a:pt x="1936" y="864"/>
                      <a:pt x="1937" y="866"/>
                      <a:pt x="1940" y="866"/>
                    </a:cubicBezTo>
                    <a:cubicBezTo>
                      <a:pt x="1936" y="875"/>
                      <a:pt x="1930" y="884"/>
                      <a:pt x="1918" y="885"/>
                    </a:cubicBezTo>
                    <a:cubicBezTo>
                      <a:pt x="1923" y="878"/>
                      <a:pt x="1930" y="873"/>
                      <a:pt x="1933" y="864"/>
                    </a:cubicBezTo>
                    <a:close/>
                    <a:moveTo>
                      <a:pt x="1900" y="875"/>
                    </a:moveTo>
                    <a:cubicBezTo>
                      <a:pt x="1898" y="870"/>
                      <a:pt x="1898" y="863"/>
                      <a:pt x="1898" y="856"/>
                    </a:cubicBezTo>
                    <a:cubicBezTo>
                      <a:pt x="1931" y="832"/>
                      <a:pt x="1936" y="880"/>
                      <a:pt x="1900" y="875"/>
                    </a:cubicBezTo>
                    <a:close/>
                    <a:moveTo>
                      <a:pt x="1944" y="878"/>
                    </a:moveTo>
                    <a:cubicBezTo>
                      <a:pt x="1946" y="875"/>
                      <a:pt x="1946" y="870"/>
                      <a:pt x="1947" y="867"/>
                    </a:cubicBezTo>
                    <a:cubicBezTo>
                      <a:pt x="1960" y="848"/>
                      <a:pt x="1982" y="832"/>
                      <a:pt x="1992" y="815"/>
                    </a:cubicBezTo>
                    <a:cubicBezTo>
                      <a:pt x="1995" y="814"/>
                      <a:pt x="1996" y="816"/>
                      <a:pt x="1996" y="818"/>
                    </a:cubicBezTo>
                    <a:cubicBezTo>
                      <a:pt x="1994" y="838"/>
                      <a:pt x="1976" y="851"/>
                      <a:pt x="1963" y="867"/>
                    </a:cubicBezTo>
                    <a:cubicBezTo>
                      <a:pt x="1951" y="882"/>
                      <a:pt x="1942" y="903"/>
                      <a:pt x="1926" y="914"/>
                    </a:cubicBezTo>
                    <a:cubicBezTo>
                      <a:pt x="1912" y="915"/>
                      <a:pt x="1904" y="912"/>
                      <a:pt x="1892" y="913"/>
                    </a:cubicBezTo>
                    <a:cubicBezTo>
                      <a:pt x="1902" y="888"/>
                      <a:pt x="1929" y="897"/>
                      <a:pt x="1944" y="878"/>
                    </a:cubicBezTo>
                    <a:close/>
                    <a:moveTo>
                      <a:pt x="1883" y="916"/>
                    </a:moveTo>
                    <a:cubicBezTo>
                      <a:pt x="1878" y="919"/>
                      <a:pt x="1871" y="919"/>
                      <a:pt x="1864" y="919"/>
                    </a:cubicBezTo>
                    <a:cubicBezTo>
                      <a:pt x="1863" y="915"/>
                      <a:pt x="1866" y="908"/>
                      <a:pt x="1862" y="908"/>
                    </a:cubicBezTo>
                    <a:cubicBezTo>
                      <a:pt x="1873" y="905"/>
                      <a:pt x="1892" y="897"/>
                      <a:pt x="1883" y="916"/>
                    </a:cubicBezTo>
                    <a:close/>
                    <a:moveTo>
                      <a:pt x="1834" y="859"/>
                    </a:moveTo>
                    <a:cubicBezTo>
                      <a:pt x="1831" y="863"/>
                      <a:pt x="1821" y="858"/>
                      <a:pt x="1820" y="854"/>
                    </a:cubicBezTo>
                    <a:cubicBezTo>
                      <a:pt x="1825" y="855"/>
                      <a:pt x="1829" y="858"/>
                      <a:pt x="1834" y="859"/>
                    </a:cubicBezTo>
                    <a:close/>
                    <a:moveTo>
                      <a:pt x="1826" y="914"/>
                    </a:moveTo>
                    <a:cubicBezTo>
                      <a:pt x="1818" y="914"/>
                      <a:pt x="1815" y="909"/>
                      <a:pt x="1809" y="907"/>
                    </a:cubicBezTo>
                    <a:cubicBezTo>
                      <a:pt x="1805" y="868"/>
                      <a:pt x="1853" y="897"/>
                      <a:pt x="1826" y="914"/>
                    </a:cubicBezTo>
                    <a:close/>
                    <a:moveTo>
                      <a:pt x="1779" y="859"/>
                    </a:moveTo>
                    <a:cubicBezTo>
                      <a:pt x="1791" y="851"/>
                      <a:pt x="1805" y="854"/>
                      <a:pt x="1818" y="854"/>
                    </a:cubicBezTo>
                    <a:cubicBezTo>
                      <a:pt x="1781" y="856"/>
                      <a:pt x="1762" y="886"/>
                      <a:pt x="1768" y="919"/>
                    </a:cubicBezTo>
                    <a:cubicBezTo>
                      <a:pt x="1755" y="905"/>
                      <a:pt x="1764" y="869"/>
                      <a:pt x="1779" y="859"/>
                    </a:cubicBezTo>
                    <a:close/>
                    <a:moveTo>
                      <a:pt x="1711" y="895"/>
                    </a:moveTo>
                    <a:cubicBezTo>
                      <a:pt x="1692" y="893"/>
                      <a:pt x="1671" y="897"/>
                      <a:pt x="1654" y="893"/>
                    </a:cubicBezTo>
                    <a:cubicBezTo>
                      <a:pt x="1658" y="873"/>
                      <a:pt x="1654" y="847"/>
                      <a:pt x="1651" y="828"/>
                    </a:cubicBezTo>
                    <a:cubicBezTo>
                      <a:pt x="1688" y="822"/>
                      <a:pt x="1722" y="832"/>
                      <a:pt x="1757" y="827"/>
                    </a:cubicBezTo>
                    <a:cubicBezTo>
                      <a:pt x="1760" y="837"/>
                      <a:pt x="1754" y="862"/>
                      <a:pt x="1764" y="866"/>
                    </a:cubicBezTo>
                    <a:cubicBezTo>
                      <a:pt x="1758" y="880"/>
                      <a:pt x="1750" y="892"/>
                      <a:pt x="1754" y="910"/>
                    </a:cubicBezTo>
                    <a:cubicBezTo>
                      <a:pt x="1750" y="910"/>
                      <a:pt x="1747" y="908"/>
                      <a:pt x="1741" y="909"/>
                    </a:cubicBezTo>
                    <a:cubicBezTo>
                      <a:pt x="1741" y="904"/>
                      <a:pt x="1747" y="905"/>
                      <a:pt x="1750" y="903"/>
                    </a:cubicBezTo>
                    <a:cubicBezTo>
                      <a:pt x="1741" y="899"/>
                      <a:pt x="1726" y="897"/>
                      <a:pt x="1711" y="895"/>
                    </a:cubicBezTo>
                    <a:close/>
                    <a:moveTo>
                      <a:pt x="1512" y="826"/>
                    </a:moveTo>
                    <a:cubicBezTo>
                      <a:pt x="1548" y="823"/>
                      <a:pt x="1580" y="832"/>
                      <a:pt x="1621" y="827"/>
                    </a:cubicBezTo>
                    <a:cubicBezTo>
                      <a:pt x="1626" y="848"/>
                      <a:pt x="1636" y="875"/>
                      <a:pt x="1624" y="896"/>
                    </a:cubicBezTo>
                    <a:cubicBezTo>
                      <a:pt x="1609" y="891"/>
                      <a:pt x="1586" y="892"/>
                      <a:pt x="1568" y="895"/>
                    </a:cubicBezTo>
                    <a:cubicBezTo>
                      <a:pt x="1562" y="897"/>
                      <a:pt x="1562" y="892"/>
                      <a:pt x="1561" y="890"/>
                    </a:cubicBezTo>
                    <a:cubicBezTo>
                      <a:pt x="1554" y="889"/>
                      <a:pt x="1556" y="896"/>
                      <a:pt x="1550" y="895"/>
                    </a:cubicBezTo>
                    <a:cubicBezTo>
                      <a:pt x="1546" y="871"/>
                      <a:pt x="1533" y="854"/>
                      <a:pt x="1507" y="852"/>
                    </a:cubicBezTo>
                    <a:cubicBezTo>
                      <a:pt x="1512" y="847"/>
                      <a:pt x="1505" y="833"/>
                      <a:pt x="1512" y="826"/>
                    </a:cubicBezTo>
                    <a:close/>
                    <a:moveTo>
                      <a:pt x="1531" y="894"/>
                    </a:moveTo>
                    <a:cubicBezTo>
                      <a:pt x="1527" y="885"/>
                      <a:pt x="1505" y="886"/>
                      <a:pt x="1506" y="877"/>
                    </a:cubicBezTo>
                    <a:cubicBezTo>
                      <a:pt x="1514" y="876"/>
                      <a:pt x="1529" y="882"/>
                      <a:pt x="1531" y="894"/>
                    </a:cubicBezTo>
                    <a:close/>
                    <a:moveTo>
                      <a:pt x="1484" y="855"/>
                    </a:moveTo>
                    <a:cubicBezTo>
                      <a:pt x="1476" y="861"/>
                      <a:pt x="1469" y="869"/>
                      <a:pt x="1461" y="876"/>
                    </a:cubicBezTo>
                    <a:cubicBezTo>
                      <a:pt x="1462" y="862"/>
                      <a:pt x="1470" y="855"/>
                      <a:pt x="1484" y="855"/>
                    </a:cubicBezTo>
                    <a:close/>
                    <a:moveTo>
                      <a:pt x="81" y="175"/>
                    </a:moveTo>
                    <a:cubicBezTo>
                      <a:pt x="63" y="182"/>
                      <a:pt x="40" y="184"/>
                      <a:pt x="19" y="187"/>
                    </a:cubicBezTo>
                    <a:cubicBezTo>
                      <a:pt x="41" y="168"/>
                      <a:pt x="60" y="146"/>
                      <a:pt x="103" y="146"/>
                    </a:cubicBezTo>
                    <a:cubicBezTo>
                      <a:pt x="94" y="155"/>
                      <a:pt x="86" y="163"/>
                      <a:pt x="81" y="175"/>
                    </a:cubicBezTo>
                    <a:close/>
                    <a:moveTo>
                      <a:pt x="354" y="1101"/>
                    </a:moveTo>
                    <a:cubicBezTo>
                      <a:pt x="347" y="1095"/>
                      <a:pt x="345" y="1082"/>
                      <a:pt x="329" y="1085"/>
                    </a:cubicBezTo>
                    <a:cubicBezTo>
                      <a:pt x="327" y="1068"/>
                      <a:pt x="342" y="1068"/>
                      <a:pt x="359" y="1069"/>
                    </a:cubicBezTo>
                    <a:cubicBezTo>
                      <a:pt x="371" y="1080"/>
                      <a:pt x="367" y="1094"/>
                      <a:pt x="354" y="1101"/>
                    </a:cubicBezTo>
                    <a:close/>
                    <a:moveTo>
                      <a:pt x="346" y="1039"/>
                    </a:moveTo>
                    <a:cubicBezTo>
                      <a:pt x="318" y="1038"/>
                      <a:pt x="295" y="1059"/>
                      <a:pt x="303" y="1090"/>
                    </a:cubicBezTo>
                    <a:cubicBezTo>
                      <a:pt x="278" y="1041"/>
                      <a:pt x="339" y="1021"/>
                      <a:pt x="371" y="1044"/>
                    </a:cubicBezTo>
                    <a:cubicBezTo>
                      <a:pt x="361" y="1048"/>
                      <a:pt x="355" y="1039"/>
                      <a:pt x="346" y="1039"/>
                    </a:cubicBezTo>
                    <a:close/>
                    <a:moveTo>
                      <a:pt x="361" y="1030"/>
                    </a:moveTo>
                    <a:cubicBezTo>
                      <a:pt x="359" y="1021"/>
                      <a:pt x="370" y="1026"/>
                      <a:pt x="374" y="1026"/>
                    </a:cubicBezTo>
                    <a:cubicBezTo>
                      <a:pt x="381" y="1023"/>
                      <a:pt x="387" y="1018"/>
                      <a:pt x="387" y="1008"/>
                    </a:cubicBezTo>
                    <a:cubicBezTo>
                      <a:pt x="374" y="999"/>
                      <a:pt x="357" y="1013"/>
                      <a:pt x="354" y="1025"/>
                    </a:cubicBezTo>
                    <a:cubicBezTo>
                      <a:pt x="354" y="1016"/>
                      <a:pt x="351" y="1010"/>
                      <a:pt x="352" y="1000"/>
                    </a:cubicBezTo>
                    <a:cubicBezTo>
                      <a:pt x="376" y="1000"/>
                      <a:pt x="413" y="989"/>
                      <a:pt x="440" y="995"/>
                    </a:cubicBezTo>
                    <a:cubicBezTo>
                      <a:pt x="446" y="1013"/>
                      <a:pt x="443" y="1030"/>
                      <a:pt x="445" y="1053"/>
                    </a:cubicBezTo>
                    <a:cubicBezTo>
                      <a:pt x="429" y="1050"/>
                      <a:pt x="404" y="1048"/>
                      <a:pt x="387" y="1052"/>
                    </a:cubicBezTo>
                    <a:cubicBezTo>
                      <a:pt x="384" y="1040"/>
                      <a:pt x="365" y="1035"/>
                      <a:pt x="361" y="1030"/>
                    </a:cubicBezTo>
                    <a:close/>
                    <a:moveTo>
                      <a:pt x="468" y="1075"/>
                    </a:moveTo>
                    <a:cubicBezTo>
                      <a:pt x="454" y="1081"/>
                      <a:pt x="429" y="1080"/>
                      <a:pt x="412" y="1080"/>
                    </a:cubicBezTo>
                    <a:cubicBezTo>
                      <a:pt x="406" y="1080"/>
                      <a:pt x="393" y="1088"/>
                      <a:pt x="392" y="1077"/>
                    </a:cubicBezTo>
                    <a:cubicBezTo>
                      <a:pt x="407" y="1068"/>
                      <a:pt x="428" y="1079"/>
                      <a:pt x="451" y="1076"/>
                    </a:cubicBezTo>
                    <a:cubicBezTo>
                      <a:pt x="456" y="1073"/>
                      <a:pt x="455" y="1066"/>
                      <a:pt x="456" y="1060"/>
                    </a:cubicBezTo>
                    <a:cubicBezTo>
                      <a:pt x="458" y="1062"/>
                      <a:pt x="462" y="1062"/>
                      <a:pt x="466" y="1061"/>
                    </a:cubicBezTo>
                    <a:cubicBezTo>
                      <a:pt x="468" y="1065"/>
                      <a:pt x="464" y="1074"/>
                      <a:pt x="468" y="1075"/>
                    </a:cubicBezTo>
                    <a:close/>
                    <a:moveTo>
                      <a:pt x="392" y="1066"/>
                    </a:moveTo>
                    <a:cubicBezTo>
                      <a:pt x="392" y="1063"/>
                      <a:pt x="390" y="1063"/>
                      <a:pt x="390" y="1059"/>
                    </a:cubicBezTo>
                    <a:cubicBezTo>
                      <a:pt x="413" y="1060"/>
                      <a:pt x="430" y="1057"/>
                      <a:pt x="445" y="1062"/>
                    </a:cubicBezTo>
                    <a:cubicBezTo>
                      <a:pt x="435" y="1074"/>
                      <a:pt x="402" y="1062"/>
                      <a:pt x="392" y="1066"/>
                    </a:cubicBezTo>
                    <a:close/>
                    <a:moveTo>
                      <a:pt x="408" y="1146"/>
                    </a:moveTo>
                    <a:cubicBezTo>
                      <a:pt x="411" y="1128"/>
                      <a:pt x="408" y="1106"/>
                      <a:pt x="390" y="1105"/>
                    </a:cubicBezTo>
                    <a:cubicBezTo>
                      <a:pt x="413" y="1091"/>
                      <a:pt x="453" y="1093"/>
                      <a:pt x="483" y="1098"/>
                    </a:cubicBezTo>
                    <a:cubicBezTo>
                      <a:pt x="460" y="1117"/>
                      <a:pt x="443" y="1154"/>
                      <a:pt x="455" y="1192"/>
                    </a:cubicBezTo>
                    <a:cubicBezTo>
                      <a:pt x="440" y="1196"/>
                      <a:pt x="428" y="1211"/>
                      <a:pt x="413" y="1209"/>
                    </a:cubicBezTo>
                    <a:cubicBezTo>
                      <a:pt x="427" y="1196"/>
                      <a:pt x="443" y="1147"/>
                      <a:pt x="408" y="1146"/>
                    </a:cubicBezTo>
                    <a:close/>
                    <a:moveTo>
                      <a:pt x="564" y="822"/>
                    </a:moveTo>
                    <a:cubicBezTo>
                      <a:pt x="558" y="790"/>
                      <a:pt x="565" y="751"/>
                      <a:pt x="558" y="718"/>
                    </a:cubicBezTo>
                    <a:cubicBezTo>
                      <a:pt x="534" y="708"/>
                      <a:pt x="505" y="717"/>
                      <a:pt x="482" y="718"/>
                    </a:cubicBezTo>
                    <a:cubicBezTo>
                      <a:pt x="478" y="732"/>
                      <a:pt x="471" y="758"/>
                      <a:pt x="479" y="773"/>
                    </a:cubicBezTo>
                    <a:cubicBezTo>
                      <a:pt x="505" y="774"/>
                      <a:pt x="531" y="770"/>
                      <a:pt x="554" y="775"/>
                    </a:cubicBezTo>
                    <a:cubicBezTo>
                      <a:pt x="553" y="793"/>
                      <a:pt x="559" y="825"/>
                      <a:pt x="557" y="845"/>
                    </a:cubicBezTo>
                    <a:cubicBezTo>
                      <a:pt x="527" y="849"/>
                      <a:pt x="508" y="839"/>
                      <a:pt x="481" y="847"/>
                    </a:cubicBezTo>
                    <a:cubicBezTo>
                      <a:pt x="472" y="824"/>
                      <a:pt x="480" y="797"/>
                      <a:pt x="474" y="775"/>
                    </a:cubicBezTo>
                    <a:cubicBezTo>
                      <a:pt x="460" y="790"/>
                      <a:pt x="472" y="826"/>
                      <a:pt x="472" y="852"/>
                    </a:cubicBezTo>
                    <a:cubicBezTo>
                      <a:pt x="465" y="812"/>
                      <a:pt x="427" y="788"/>
                      <a:pt x="390" y="814"/>
                    </a:cubicBezTo>
                    <a:cubicBezTo>
                      <a:pt x="380" y="821"/>
                      <a:pt x="376" y="834"/>
                      <a:pt x="373" y="851"/>
                    </a:cubicBezTo>
                    <a:cubicBezTo>
                      <a:pt x="362" y="850"/>
                      <a:pt x="350" y="852"/>
                      <a:pt x="350" y="839"/>
                    </a:cubicBezTo>
                    <a:cubicBezTo>
                      <a:pt x="356" y="836"/>
                      <a:pt x="364" y="836"/>
                      <a:pt x="369" y="832"/>
                    </a:cubicBezTo>
                    <a:cubicBezTo>
                      <a:pt x="364" y="816"/>
                      <a:pt x="377" y="769"/>
                      <a:pt x="358" y="784"/>
                    </a:cubicBezTo>
                    <a:cubicBezTo>
                      <a:pt x="359" y="738"/>
                      <a:pt x="372" y="701"/>
                      <a:pt x="425" y="701"/>
                    </a:cubicBezTo>
                    <a:cubicBezTo>
                      <a:pt x="484" y="702"/>
                      <a:pt x="541" y="701"/>
                      <a:pt x="600" y="701"/>
                    </a:cubicBezTo>
                    <a:cubicBezTo>
                      <a:pt x="604" y="701"/>
                      <a:pt x="604" y="705"/>
                      <a:pt x="607" y="706"/>
                    </a:cubicBezTo>
                    <a:cubicBezTo>
                      <a:pt x="615" y="703"/>
                      <a:pt x="628" y="704"/>
                      <a:pt x="639" y="704"/>
                    </a:cubicBezTo>
                    <a:cubicBezTo>
                      <a:pt x="667" y="718"/>
                      <a:pt x="676" y="752"/>
                      <a:pt x="693" y="777"/>
                    </a:cubicBezTo>
                    <a:cubicBezTo>
                      <a:pt x="723" y="787"/>
                      <a:pt x="778" y="770"/>
                      <a:pt x="779" y="810"/>
                    </a:cubicBezTo>
                    <a:cubicBezTo>
                      <a:pt x="773" y="810"/>
                      <a:pt x="765" y="812"/>
                      <a:pt x="761" y="809"/>
                    </a:cubicBezTo>
                    <a:cubicBezTo>
                      <a:pt x="755" y="817"/>
                      <a:pt x="759" y="838"/>
                      <a:pt x="766" y="842"/>
                    </a:cubicBezTo>
                    <a:cubicBezTo>
                      <a:pt x="773" y="837"/>
                      <a:pt x="766" y="827"/>
                      <a:pt x="767" y="818"/>
                    </a:cubicBezTo>
                    <a:cubicBezTo>
                      <a:pt x="770" y="816"/>
                      <a:pt x="777" y="819"/>
                      <a:pt x="777" y="816"/>
                    </a:cubicBezTo>
                    <a:cubicBezTo>
                      <a:pt x="783" y="823"/>
                      <a:pt x="775" y="834"/>
                      <a:pt x="776" y="844"/>
                    </a:cubicBezTo>
                    <a:cubicBezTo>
                      <a:pt x="769" y="844"/>
                      <a:pt x="760" y="844"/>
                      <a:pt x="755" y="846"/>
                    </a:cubicBezTo>
                    <a:cubicBezTo>
                      <a:pt x="744" y="856"/>
                      <a:pt x="749" y="881"/>
                      <a:pt x="754" y="894"/>
                    </a:cubicBezTo>
                    <a:cubicBezTo>
                      <a:pt x="748" y="889"/>
                      <a:pt x="740" y="894"/>
                      <a:pt x="735" y="896"/>
                    </a:cubicBezTo>
                    <a:cubicBezTo>
                      <a:pt x="737" y="890"/>
                      <a:pt x="744" y="889"/>
                      <a:pt x="745" y="882"/>
                    </a:cubicBezTo>
                    <a:cubicBezTo>
                      <a:pt x="743" y="836"/>
                      <a:pt x="718" y="799"/>
                      <a:pt x="669" y="813"/>
                    </a:cubicBezTo>
                    <a:cubicBezTo>
                      <a:pt x="674" y="779"/>
                      <a:pt x="668" y="736"/>
                      <a:pt x="641" y="720"/>
                    </a:cubicBezTo>
                    <a:cubicBezTo>
                      <a:pt x="626" y="710"/>
                      <a:pt x="585" y="708"/>
                      <a:pt x="572" y="719"/>
                    </a:cubicBezTo>
                    <a:cubicBezTo>
                      <a:pt x="569" y="763"/>
                      <a:pt x="575" y="812"/>
                      <a:pt x="573" y="857"/>
                    </a:cubicBezTo>
                    <a:cubicBezTo>
                      <a:pt x="558" y="857"/>
                      <a:pt x="560" y="872"/>
                      <a:pt x="549" y="875"/>
                    </a:cubicBezTo>
                    <a:cubicBezTo>
                      <a:pt x="542" y="866"/>
                      <a:pt x="523" y="869"/>
                      <a:pt x="517" y="858"/>
                    </a:cubicBezTo>
                    <a:cubicBezTo>
                      <a:pt x="514" y="868"/>
                      <a:pt x="491" y="867"/>
                      <a:pt x="480" y="866"/>
                    </a:cubicBezTo>
                    <a:cubicBezTo>
                      <a:pt x="484" y="863"/>
                      <a:pt x="489" y="860"/>
                      <a:pt x="492" y="852"/>
                    </a:cubicBezTo>
                    <a:cubicBezTo>
                      <a:pt x="511" y="853"/>
                      <a:pt x="545" y="851"/>
                      <a:pt x="557" y="859"/>
                    </a:cubicBezTo>
                    <a:cubicBezTo>
                      <a:pt x="572" y="853"/>
                      <a:pt x="566" y="835"/>
                      <a:pt x="564" y="822"/>
                    </a:cubicBezTo>
                    <a:close/>
                    <a:moveTo>
                      <a:pt x="462" y="870"/>
                    </a:moveTo>
                    <a:cubicBezTo>
                      <a:pt x="464" y="866"/>
                      <a:pt x="466" y="864"/>
                      <a:pt x="473" y="865"/>
                    </a:cubicBezTo>
                    <a:cubicBezTo>
                      <a:pt x="474" y="871"/>
                      <a:pt x="467" y="870"/>
                      <a:pt x="462" y="870"/>
                    </a:cubicBezTo>
                    <a:close/>
                    <a:moveTo>
                      <a:pt x="397" y="881"/>
                    </a:moveTo>
                    <a:cubicBezTo>
                      <a:pt x="394" y="884"/>
                      <a:pt x="392" y="890"/>
                      <a:pt x="385" y="890"/>
                    </a:cubicBezTo>
                    <a:cubicBezTo>
                      <a:pt x="389" y="883"/>
                      <a:pt x="383" y="877"/>
                      <a:pt x="381" y="872"/>
                    </a:cubicBezTo>
                    <a:cubicBezTo>
                      <a:pt x="384" y="854"/>
                      <a:pt x="379" y="841"/>
                      <a:pt x="387" y="828"/>
                    </a:cubicBezTo>
                    <a:cubicBezTo>
                      <a:pt x="403" y="802"/>
                      <a:pt x="460" y="803"/>
                      <a:pt x="458" y="844"/>
                    </a:cubicBezTo>
                    <a:cubicBezTo>
                      <a:pt x="451" y="842"/>
                      <a:pt x="455" y="837"/>
                      <a:pt x="452" y="833"/>
                    </a:cubicBezTo>
                    <a:cubicBezTo>
                      <a:pt x="430" y="809"/>
                      <a:pt x="396" y="832"/>
                      <a:pt x="386" y="854"/>
                    </a:cubicBezTo>
                    <a:cubicBezTo>
                      <a:pt x="387" y="866"/>
                      <a:pt x="383" y="883"/>
                      <a:pt x="397" y="881"/>
                    </a:cubicBezTo>
                    <a:close/>
                    <a:moveTo>
                      <a:pt x="448" y="853"/>
                    </a:moveTo>
                    <a:cubicBezTo>
                      <a:pt x="452" y="857"/>
                      <a:pt x="451" y="867"/>
                      <a:pt x="459" y="869"/>
                    </a:cubicBezTo>
                    <a:cubicBezTo>
                      <a:pt x="450" y="875"/>
                      <a:pt x="434" y="874"/>
                      <a:pt x="420" y="875"/>
                    </a:cubicBezTo>
                    <a:cubicBezTo>
                      <a:pt x="413" y="857"/>
                      <a:pt x="433" y="849"/>
                      <a:pt x="448" y="853"/>
                    </a:cubicBezTo>
                    <a:close/>
                    <a:moveTo>
                      <a:pt x="297" y="932"/>
                    </a:moveTo>
                    <a:cubicBezTo>
                      <a:pt x="308" y="924"/>
                      <a:pt x="313" y="903"/>
                      <a:pt x="309" y="886"/>
                    </a:cubicBezTo>
                    <a:cubicBezTo>
                      <a:pt x="317" y="890"/>
                      <a:pt x="331" y="897"/>
                      <a:pt x="341" y="894"/>
                    </a:cubicBezTo>
                    <a:cubicBezTo>
                      <a:pt x="345" y="900"/>
                      <a:pt x="344" y="911"/>
                      <a:pt x="352" y="913"/>
                    </a:cubicBezTo>
                    <a:cubicBezTo>
                      <a:pt x="356" y="914"/>
                      <a:pt x="357" y="902"/>
                      <a:pt x="353" y="901"/>
                    </a:cubicBezTo>
                    <a:cubicBezTo>
                      <a:pt x="358" y="896"/>
                      <a:pt x="365" y="906"/>
                      <a:pt x="374" y="902"/>
                    </a:cubicBezTo>
                    <a:cubicBezTo>
                      <a:pt x="365" y="907"/>
                      <a:pt x="352" y="929"/>
                      <a:pt x="342" y="933"/>
                    </a:cubicBezTo>
                    <a:cubicBezTo>
                      <a:pt x="331" y="937"/>
                      <a:pt x="314" y="927"/>
                      <a:pt x="297" y="932"/>
                    </a:cubicBezTo>
                    <a:close/>
                    <a:moveTo>
                      <a:pt x="335" y="940"/>
                    </a:moveTo>
                    <a:cubicBezTo>
                      <a:pt x="332" y="958"/>
                      <a:pt x="326" y="972"/>
                      <a:pt x="320" y="987"/>
                    </a:cubicBezTo>
                    <a:cubicBezTo>
                      <a:pt x="300" y="989"/>
                      <a:pt x="275" y="982"/>
                      <a:pt x="254" y="986"/>
                    </a:cubicBezTo>
                    <a:cubicBezTo>
                      <a:pt x="269" y="959"/>
                      <a:pt x="287" y="936"/>
                      <a:pt x="335" y="940"/>
                    </a:cubicBezTo>
                    <a:close/>
                    <a:moveTo>
                      <a:pt x="269" y="837"/>
                    </a:moveTo>
                    <a:cubicBezTo>
                      <a:pt x="269" y="834"/>
                      <a:pt x="273" y="835"/>
                      <a:pt x="272" y="830"/>
                    </a:cubicBezTo>
                    <a:cubicBezTo>
                      <a:pt x="282" y="837"/>
                      <a:pt x="288" y="847"/>
                      <a:pt x="304" y="847"/>
                    </a:cubicBezTo>
                    <a:cubicBezTo>
                      <a:pt x="301" y="854"/>
                      <a:pt x="304" y="866"/>
                      <a:pt x="303" y="876"/>
                    </a:cubicBezTo>
                    <a:cubicBezTo>
                      <a:pt x="297" y="873"/>
                      <a:pt x="292" y="868"/>
                      <a:pt x="282" y="869"/>
                    </a:cubicBezTo>
                    <a:cubicBezTo>
                      <a:pt x="286" y="857"/>
                      <a:pt x="278" y="841"/>
                      <a:pt x="269" y="837"/>
                    </a:cubicBezTo>
                    <a:close/>
                    <a:moveTo>
                      <a:pt x="195" y="793"/>
                    </a:moveTo>
                    <a:cubicBezTo>
                      <a:pt x="197" y="783"/>
                      <a:pt x="205" y="779"/>
                      <a:pt x="209" y="772"/>
                    </a:cubicBezTo>
                    <a:cubicBezTo>
                      <a:pt x="202" y="765"/>
                      <a:pt x="191" y="762"/>
                      <a:pt x="184" y="756"/>
                    </a:cubicBezTo>
                    <a:cubicBezTo>
                      <a:pt x="176" y="732"/>
                      <a:pt x="196" y="720"/>
                      <a:pt x="207" y="708"/>
                    </a:cubicBezTo>
                    <a:cubicBezTo>
                      <a:pt x="202" y="697"/>
                      <a:pt x="186" y="695"/>
                      <a:pt x="184" y="682"/>
                    </a:cubicBezTo>
                    <a:cubicBezTo>
                      <a:pt x="182" y="669"/>
                      <a:pt x="191" y="664"/>
                      <a:pt x="192" y="650"/>
                    </a:cubicBezTo>
                    <a:cubicBezTo>
                      <a:pt x="208" y="635"/>
                      <a:pt x="239" y="612"/>
                      <a:pt x="268" y="629"/>
                    </a:cubicBezTo>
                    <a:cubicBezTo>
                      <a:pt x="267" y="635"/>
                      <a:pt x="267" y="643"/>
                      <a:pt x="273" y="650"/>
                    </a:cubicBezTo>
                    <a:cubicBezTo>
                      <a:pt x="282" y="647"/>
                      <a:pt x="282" y="640"/>
                      <a:pt x="291" y="639"/>
                    </a:cubicBezTo>
                    <a:cubicBezTo>
                      <a:pt x="330" y="632"/>
                      <a:pt x="345" y="679"/>
                      <a:pt x="322" y="709"/>
                    </a:cubicBezTo>
                    <a:cubicBezTo>
                      <a:pt x="330" y="714"/>
                      <a:pt x="333" y="704"/>
                      <a:pt x="340" y="703"/>
                    </a:cubicBezTo>
                    <a:cubicBezTo>
                      <a:pt x="378" y="715"/>
                      <a:pt x="347" y="753"/>
                      <a:pt x="344" y="799"/>
                    </a:cubicBezTo>
                    <a:cubicBezTo>
                      <a:pt x="343" y="811"/>
                      <a:pt x="341" y="824"/>
                      <a:pt x="341" y="834"/>
                    </a:cubicBezTo>
                    <a:cubicBezTo>
                      <a:pt x="341" y="836"/>
                      <a:pt x="345" y="838"/>
                      <a:pt x="345" y="841"/>
                    </a:cubicBezTo>
                    <a:cubicBezTo>
                      <a:pt x="344" y="846"/>
                      <a:pt x="340" y="850"/>
                      <a:pt x="340" y="854"/>
                    </a:cubicBezTo>
                    <a:cubicBezTo>
                      <a:pt x="339" y="865"/>
                      <a:pt x="346" y="875"/>
                      <a:pt x="342" y="887"/>
                    </a:cubicBezTo>
                    <a:cubicBezTo>
                      <a:pt x="332" y="889"/>
                      <a:pt x="317" y="883"/>
                      <a:pt x="312" y="874"/>
                    </a:cubicBezTo>
                    <a:cubicBezTo>
                      <a:pt x="312" y="862"/>
                      <a:pt x="315" y="853"/>
                      <a:pt x="315" y="842"/>
                    </a:cubicBezTo>
                    <a:cubicBezTo>
                      <a:pt x="310" y="837"/>
                      <a:pt x="301" y="837"/>
                      <a:pt x="292" y="837"/>
                    </a:cubicBezTo>
                    <a:cubicBezTo>
                      <a:pt x="285" y="831"/>
                      <a:pt x="283" y="822"/>
                      <a:pt x="277" y="816"/>
                    </a:cubicBezTo>
                    <a:cubicBezTo>
                      <a:pt x="266" y="816"/>
                      <a:pt x="269" y="829"/>
                      <a:pt x="263" y="834"/>
                    </a:cubicBezTo>
                    <a:cubicBezTo>
                      <a:pt x="254" y="833"/>
                      <a:pt x="235" y="831"/>
                      <a:pt x="226" y="838"/>
                    </a:cubicBezTo>
                    <a:cubicBezTo>
                      <a:pt x="230" y="815"/>
                      <a:pt x="208" y="805"/>
                      <a:pt x="195" y="793"/>
                    </a:cubicBezTo>
                    <a:close/>
                    <a:moveTo>
                      <a:pt x="188" y="788"/>
                    </a:moveTo>
                    <a:cubicBezTo>
                      <a:pt x="182" y="787"/>
                      <a:pt x="176" y="786"/>
                      <a:pt x="168" y="787"/>
                    </a:cubicBezTo>
                    <a:cubicBezTo>
                      <a:pt x="169" y="779"/>
                      <a:pt x="183" y="760"/>
                      <a:pt x="193" y="772"/>
                    </a:cubicBezTo>
                    <a:cubicBezTo>
                      <a:pt x="194" y="780"/>
                      <a:pt x="186" y="780"/>
                      <a:pt x="188" y="788"/>
                    </a:cubicBezTo>
                    <a:close/>
                    <a:moveTo>
                      <a:pt x="408" y="504"/>
                    </a:moveTo>
                    <a:cubicBezTo>
                      <a:pt x="413" y="484"/>
                      <a:pt x="444" y="492"/>
                      <a:pt x="459" y="497"/>
                    </a:cubicBezTo>
                    <a:cubicBezTo>
                      <a:pt x="459" y="501"/>
                      <a:pt x="454" y="501"/>
                      <a:pt x="454" y="504"/>
                    </a:cubicBezTo>
                    <a:cubicBezTo>
                      <a:pt x="455" y="512"/>
                      <a:pt x="466" y="504"/>
                      <a:pt x="468" y="508"/>
                    </a:cubicBezTo>
                    <a:cubicBezTo>
                      <a:pt x="470" y="519"/>
                      <a:pt x="474" y="527"/>
                      <a:pt x="471" y="539"/>
                    </a:cubicBezTo>
                    <a:cubicBezTo>
                      <a:pt x="487" y="538"/>
                      <a:pt x="505" y="542"/>
                      <a:pt x="512" y="556"/>
                    </a:cubicBezTo>
                    <a:cubicBezTo>
                      <a:pt x="504" y="582"/>
                      <a:pt x="494" y="603"/>
                      <a:pt x="503" y="634"/>
                    </a:cubicBezTo>
                    <a:cubicBezTo>
                      <a:pt x="452" y="645"/>
                      <a:pt x="421" y="674"/>
                      <a:pt x="382" y="695"/>
                    </a:cubicBezTo>
                    <a:cubicBezTo>
                      <a:pt x="384" y="709"/>
                      <a:pt x="371" y="710"/>
                      <a:pt x="369" y="720"/>
                    </a:cubicBezTo>
                    <a:cubicBezTo>
                      <a:pt x="365" y="705"/>
                      <a:pt x="349" y="696"/>
                      <a:pt x="336" y="696"/>
                    </a:cubicBezTo>
                    <a:cubicBezTo>
                      <a:pt x="354" y="666"/>
                      <a:pt x="330" y="639"/>
                      <a:pt x="303" y="633"/>
                    </a:cubicBezTo>
                    <a:cubicBezTo>
                      <a:pt x="305" y="626"/>
                      <a:pt x="310" y="622"/>
                      <a:pt x="317" y="619"/>
                    </a:cubicBezTo>
                    <a:cubicBezTo>
                      <a:pt x="327" y="625"/>
                      <a:pt x="344" y="625"/>
                      <a:pt x="358" y="629"/>
                    </a:cubicBezTo>
                    <a:cubicBezTo>
                      <a:pt x="356" y="664"/>
                      <a:pt x="387" y="673"/>
                      <a:pt x="419" y="668"/>
                    </a:cubicBezTo>
                    <a:cubicBezTo>
                      <a:pt x="402" y="656"/>
                      <a:pt x="373" y="663"/>
                      <a:pt x="367" y="641"/>
                    </a:cubicBezTo>
                    <a:cubicBezTo>
                      <a:pt x="363" y="624"/>
                      <a:pt x="374" y="615"/>
                      <a:pt x="378" y="598"/>
                    </a:cubicBezTo>
                    <a:cubicBezTo>
                      <a:pt x="365" y="591"/>
                      <a:pt x="345" y="592"/>
                      <a:pt x="339" y="578"/>
                    </a:cubicBezTo>
                    <a:cubicBezTo>
                      <a:pt x="340" y="565"/>
                      <a:pt x="337" y="555"/>
                      <a:pt x="333" y="548"/>
                    </a:cubicBezTo>
                    <a:cubicBezTo>
                      <a:pt x="343" y="526"/>
                      <a:pt x="374" y="515"/>
                      <a:pt x="397" y="511"/>
                    </a:cubicBezTo>
                    <a:cubicBezTo>
                      <a:pt x="404" y="511"/>
                      <a:pt x="408" y="522"/>
                      <a:pt x="415" y="516"/>
                    </a:cubicBezTo>
                    <a:cubicBezTo>
                      <a:pt x="419" y="511"/>
                      <a:pt x="410" y="508"/>
                      <a:pt x="408" y="504"/>
                    </a:cubicBezTo>
                    <a:close/>
                    <a:moveTo>
                      <a:pt x="464" y="396"/>
                    </a:moveTo>
                    <a:cubicBezTo>
                      <a:pt x="466" y="392"/>
                      <a:pt x="476" y="395"/>
                      <a:pt x="475" y="400"/>
                    </a:cubicBezTo>
                    <a:cubicBezTo>
                      <a:pt x="472" y="397"/>
                      <a:pt x="466" y="399"/>
                      <a:pt x="464" y="396"/>
                    </a:cubicBezTo>
                    <a:close/>
                    <a:moveTo>
                      <a:pt x="479" y="532"/>
                    </a:moveTo>
                    <a:cubicBezTo>
                      <a:pt x="481" y="525"/>
                      <a:pt x="475" y="522"/>
                      <a:pt x="479" y="518"/>
                    </a:cubicBezTo>
                    <a:cubicBezTo>
                      <a:pt x="505" y="522"/>
                      <a:pt x="538" y="519"/>
                      <a:pt x="562" y="525"/>
                    </a:cubicBezTo>
                    <a:cubicBezTo>
                      <a:pt x="548" y="540"/>
                      <a:pt x="526" y="548"/>
                      <a:pt x="517" y="568"/>
                    </a:cubicBezTo>
                    <a:cubicBezTo>
                      <a:pt x="521" y="550"/>
                      <a:pt x="505" y="531"/>
                      <a:pt x="479" y="532"/>
                    </a:cubicBezTo>
                    <a:close/>
                    <a:moveTo>
                      <a:pt x="790" y="672"/>
                    </a:moveTo>
                    <a:cubicBezTo>
                      <a:pt x="790" y="666"/>
                      <a:pt x="799" y="668"/>
                      <a:pt x="801" y="663"/>
                    </a:cubicBezTo>
                    <a:cubicBezTo>
                      <a:pt x="810" y="670"/>
                      <a:pt x="810" y="693"/>
                      <a:pt x="801" y="702"/>
                    </a:cubicBezTo>
                    <a:cubicBezTo>
                      <a:pt x="813" y="714"/>
                      <a:pt x="871" y="703"/>
                      <a:pt x="874" y="721"/>
                    </a:cubicBezTo>
                    <a:cubicBezTo>
                      <a:pt x="875" y="724"/>
                      <a:pt x="852" y="757"/>
                      <a:pt x="849" y="761"/>
                    </a:cubicBezTo>
                    <a:cubicBezTo>
                      <a:pt x="840" y="771"/>
                      <a:pt x="827" y="772"/>
                      <a:pt x="823" y="784"/>
                    </a:cubicBezTo>
                    <a:cubicBezTo>
                      <a:pt x="821" y="783"/>
                      <a:pt x="818" y="782"/>
                      <a:pt x="814" y="783"/>
                    </a:cubicBezTo>
                    <a:cubicBezTo>
                      <a:pt x="809" y="793"/>
                      <a:pt x="797" y="797"/>
                      <a:pt x="790" y="805"/>
                    </a:cubicBezTo>
                    <a:cubicBezTo>
                      <a:pt x="785" y="770"/>
                      <a:pt x="740" y="777"/>
                      <a:pt x="709" y="769"/>
                    </a:cubicBezTo>
                    <a:cubicBezTo>
                      <a:pt x="736" y="739"/>
                      <a:pt x="773" y="716"/>
                      <a:pt x="801" y="693"/>
                    </a:cubicBezTo>
                    <a:cubicBezTo>
                      <a:pt x="799" y="684"/>
                      <a:pt x="793" y="680"/>
                      <a:pt x="790" y="672"/>
                    </a:cubicBezTo>
                    <a:close/>
                    <a:moveTo>
                      <a:pt x="929" y="731"/>
                    </a:moveTo>
                    <a:cubicBezTo>
                      <a:pt x="930" y="739"/>
                      <a:pt x="923" y="741"/>
                      <a:pt x="921" y="750"/>
                    </a:cubicBezTo>
                    <a:cubicBezTo>
                      <a:pt x="913" y="754"/>
                      <a:pt x="905" y="754"/>
                      <a:pt x="898" y="754"/>
                    </a:cubicBezTo>
                    <a:cubicBezTo>
                      <a:pt x="900" y="742"/>
                      <a:pt x="889" y="744"/>
                      <a:pt x="889" y="733"/>
                    </a:cubicBezTo>
                    <a:cubicBezTo>
                      <a:pt x="892" y="730"/>
                      <a:pt x="892" y="734"/>
                      <a:pt x="898" y="733"/>
                    </a:cubicBezTo>
                    <a:cubicBezTo>
                      <a:pt x="889" y="704"/>
                      <a:pt x="928" y="709"/>
                      <a:pt x="929" y="731"/>
                    </a:cubicBezTo>
                    <a:close/>
                    <a:moveTo>
                      <a:pt x="962" y="781"/>
                    </a:moveTo>
                    <a:cubicBezTo>
                      <a:pt x="945" y="800"/>
                      <a:pt x="929" y="821"/>
                      <a:pt x="921" y="849"/>
                    </a:cubicBezTo>
                    <a:cubicBezTo>
                      <a:pt x="901" y="852"/>
                      <a:pt x="864" y="855"/>
                      <a:pt x="842" y="855"/>
                    </a:cubicBezTo>
                    <a:cubicBezTo>
                      <a:pt x="862" y="810"/>
                      <a:pt x="897" y="773"/>
                      <a:pt x="962" y="781"/>
                    </a:cubicBezTo>
                    <a:close/>
                    <a:moveTo>
                      <a:pt x="937" y="775"/>
                    </a:moveTo>
                    <a:cubicBezTo>
                      <a:pt x="943" y="769"/>
                      <a:pt x="950" y="764"/>
                      <a:pt x="951" y="755"/>
                    </a:cubicBezTo>
                    <a:cubicBezTo>
                      <a:pt x="953" y="768"/>
                      <a:pt x="970" y="760"/>
                      <a:pt x="976" y="756"/>
                    </a:cubicBezTo>
                    <a:cubicBezTo>
                      <a:pt x="981" y="765"/>
                      <a:pt x="970" y="769"/>
                      <a:pt x="966" y="774"/>
                    </a:cubicBezTo>
                    <a:cubicBezTo>
                      <a:pt x="954" y="773"/>
                      <a:pt x="950" y="774"/>
                      <a:pt x="937" y="775"/>
                    </a:cubicBezTo>
                    <a:close/>
                    <a:moveTo>
                      <a:pt x="888" y="785"/>
                    </a:moveTo>
                    <a:cubicBezTo>
                      <a:pt x="847" y="817"/>
                      <a:pt x="825" y="866"/>
                      <a:pt x="757" y="873"/>
                    </a:cubicBezTo>
                    <a:cubicBezTo>
                      <a:pt x="757" y="864"/>
                      <a:pt x="758" y="857"/>
                      <a:pt x="762" y="853"/>
                    </a:cubicBezTo>
                    <a:cubicBezTo>
                      <a:pt x="797" y="857"/>
                      <a:pt x="809" y="836"/>
                      <a:pt x="832" y="814"/>
                    </a:cubicBezTo>
                    <a:cubicBezTo>
                      <a:pt x="844" y="804"/>
                      <a:pt x="858" y="795"/>
                      <a:pt x="865" y="787"/>
                    </a:cubicBezTo>
                    <a:cubicBezTo>
                      <a:pt x="874" y="777"/>
                      <a:pt x="886" y="756"/>
                      <a:pt x="886" y="748"/>
                    </a:cubicBezTo>
                    <a:cubicBezTo>
                      <a:pt x="896" y="752"/>
                      <a:pt x="885" y="777"/>
                      <a:pt x="888" y="785"/>
                    </a:cubicBezTo>
                    <a:close/>
                    <a:moveTo>
                      <a:pt x="829" y="905"/>
                    </a:moveTo>
                    <a:cubicBezTo>
                      <a:pt x="818" y="911"/>
                      <a:pt x="801" y="923"/>
                      <a:pt x="812" y="940"/>
                    </a:cubicBezTo>
                    <a:cubicBezTo>
                      <a:pt x="802" y="940"/>
                      <a:pt x="794" y="941"/>
                      <a:pt x="786" y="943"/>
                    </a:cubicBezTo>
                    <a:cubicBezTo>
                      <a:pt x="779" y="916"/>
                      <a:pt x="749" y="913"/>
                      <a:pt x="721" y="909"/>
                    </a:cubicBezTo>
                    <a:cubicBezTo>
                      <a:pt x="733" y="906"/>
                      <a:pt x="746" y="898"/>
                      <a:pt x="760" y="897"/>
                    </a:cubicBezTo>
                    <a:cubicBezTo>
                      <a:pt x="764" y="897"/>
                      <a:pt x="770" y="901"/>
                      <a:pt x="774" y="900"/>
                    </a:cubicBezTo>
                    <a:cubicBezTo>
                      <a:pt x="788" y="897"/>
                      <a:pt x="797" y="882"/>
                      <a:pt x="809" y="873"/>
                    </a:cubicBezTo>
                    <a:cubicBezTo>
                      <a:pt x="817" y="867"/>
                      <a:pt x="828" y="869"/>
                      <a:pt x="830" y="857"/>
                    </a:cubicBezTo>
                    <a:cubicBezTo>
                      <a:pt x="831" y="861"/>
                      <a:pt x="826" y="888"/>
                      <a:pt x="829" y="905"/>
                    </a:cubicBezTo>
                    <a:close/>
                    <a:moveTo>
                      <a:pt x="708" y="937"/>
                    </a:moveTo>
                    <a:cubicBezTo>
                      <a:pt x="707" y="905"/>
                      <a:pt x="749" y="924"/>
                      <a:pt x="766" y="927"/>
                    </a:cubicBezTo>
                    <a:cubicBezTo>
                      <a:pt x="758" y="945"/>
                      <a:pt x="747" y="960"/>
                      <a:pt x="733" y="972"/>
                    </a:cubicBezTo>
                    <a:cubicBezTo>
                      <a:pt x="735" y="957"/>
                      <a:pt x="729" y="928"/>
                      <a:pt x="708" y="937"/>
                    </a:cubicBezTo>
                    <a:close/>
                    <a:moveTo>
                      <a:pt x="710" y="877"/>
                    </a:moveTo>
                    <a:cubicBezTo>
                      <a:pt x="709" y="870"/>
                      <a:pt x="709" y="859"/>
                      <a:pt x="704" y="853"/>
                    </a:cubicBezTo>
                    <a:cubicBezTo>
                      <a:pt x="710" y="856"/>
                      <a:pt x="712" y="852"/>
                      <a:pt x="720" y="852"/>
                    </a:cubicBezTo>
                    <a:cubicBezTo>
                      <a:pt x="719" y="863"/>
                      <a:pt x="725" y="880"/>
                      <a:pt x="710" y="877"/>
                    </a:cubicBezTo>
                    <a:close/>
                    <a:moveTo>
                      <a:pt x="771" y="936"/>
                    </a:moveTo>
                    <a:cubicBezTo>
                      <a:pt x="775" y="937"/>
                      <a:pt x="776" y="940"/>
                      <a:pt x="777" y="945"/>
                    </a:cubicBezTo>
                    <a:cubicBezTo>
                      <a:pt x="771" y="944"/>
                      <a:pt x="771" y="949"/>
                      <a:pt x="764" y="948"/>
                    </a:cubicBezTo>
                    <a:cubicBezTo>
                      <a:pt x="765" y="943"/>
                      <a:pt x="769" y="941"/>
                      <a:pt x="771" y="936"/>
                    </a:cubicBezTo>
                    <a:close/>
                    <a:moveTo>
                      <a:pt x="816" y="816"/>
                    </a:moveTo>
                    <a:cubicBezTo>
                      <a:pt x="808" y="826"/>
                      <a:pt x="802" y="838"/>
                      <a:pt x="787" y="842"/>
                    </a:cubicBezTo>
                    <a:cubicBezTo>
                      <a:pt x="781" y="814"/>
                      <a:pt x="798" y="808"/>
                      <a:pt x="811" y="797"/>
                    </a:cubicBezTo>
                    <a:cubicBezTo>
                      <a:pt x="816" y="803"/>
                      <a:pt x="807" y="813"/>
                      <a:pt x="816" y="816"/>
                    </a:cubicBezTo>
                    <a:close/>
                    <a:moveTo>
                      <a:pt x="871" y="741"/>
                    </a:moveTo>
                    <a:cubicBezTo>
                      <a:pt x="875" y="750"/>
                      <a:pt x="872" y="771"/>
                      <a:pt x="860" y="777"/>
                    </a:cubicBezTo>
                    <a:cubicBezTo>
                      <a:pt x="858" y="763"/>
                      <a:pt x="862" y="749"/>
                      <a:pt x="871" y="741"/>
                    </a:cubicBezTo>
                    <a:close/>
                    <a:moveTo>
                      <a:pt x="865" y="702"/>
                    </a:moveTo>
                    <a:cubicBezTo>
                      <a:pt x="867" y="696"/>
                      <a:pt x="871" y="692"/>
                      <a:pt x="877" y="689"/>
                    </a:cubicBezTo>
                    <a:cubicBezTo>
                      <a:pt x="875" y="696"/>
                      <a:pt x="871" y="700"/>
                      <a:pt x="865" y="702"/>
                    </a:cubicBezTo>
                    <a:close/>
                    <a:moveTo>
                      <a:pt x="649" y="698"/>
                    </a:moveTo>
                    <a:cubicBezTo>
                      <a:pt x="568" y="687"/>
                      <a:pt x="478" y="696"/>
                      <a:pt x="400" y="695"/>
                    </a:cubicBezTo>
                    <a:cubicBezTo>
                      <a:pt x="435" y="668"/>
                      <a:pt x="477" y="647"/>
                      <a:pt x="529" y="635"/>
                    </a:cubicBezTo>
                    <a:cubicBezTo>
                      <a:pt x="529" y="632"/>
                      <a:pt x="531" y="631"/>
                      <a:pt x="533" y="630"/>
                    </a:cubicBezTo>
                    <a:cubicBezTo>
                      <a:pt x="597" y="641"/>
                      <a:pt x="671" y="628"/>
                      <a:pt x="734" y="633"/>
                    </a:cubicBezTo>
                    <a:cubicBezTo>
                      <a:pt x="717" y="665"/>
                      <a:pt x="679" y="678"/>
                      <a:pt x="649" y="698"/>
                    </a:cubicBezTo>
                    <a:close/>
                    <a:moveTo>
                      <a:pt x="315" y="598"/>
                    </a:moveTo>
                    <a:cubicBezTo>
                      <a:pt x="331" y="600"/>
                      <a:pt x="354" y="597"/>
                      <a:pt x="368" y="602"/>
                    </a:cubicBezTo>
                    <a:cubicBezTo>
                      <a:pt x="365" y="608"/>
                      <a:pt x="362" y="614"/>
                      <a:pt x="359" y="620"/>
                    </a:cubicBezTo>
                    <a:cubicBezTo>
                      <a:pt x="340" y="617"/>
                      <a:pt x="320" y="615"/>
                      <a:pt x="315" y="598"/>
                    </a:cubicBezTo>
                    <a:close/>
                    <a:moveTo>
                      <a:pt x="326" y="546"/>
                    </a:moveTo>
                    <a:cubicBezTo>
                      <a:pt x="331" y="560"/>
                      <a:pt x="330" y="579"/>
                      <a:pt x="337" y="590"/>
                    </a:cubicBezTo>
                    <a:cubicBezTo>
                      <a:pt x="322" y="591"/>
                      <a:pt x="318" y="587"/>
                      <a:pt x="306" y="591"/>
                    </a:cubicBezTo>
                    <a:cubicBezTo>
                      <a:pt x="307" y="583"/>
                      <a:pt x="298" y="585"/>
                      <a:pt x="298" y="579"/>
                    </a:cubicBezTo>
                    <a:cubicBezTo>
                      <a:pt x="301" y="579"/>
                      <a:pt x="302" y="576"/>
                      <a:pt x="305" y="577"/>
                    </a:cubicBezTo>
                    <a:cubicBezTo>
                      <a:pt x="294" y="563"/>
                      <a:pt x="299" y="533"/>
                      <a:pt x="299" y="519"/>
                    </a:cubicBezTo>
                    <a:cubicBezTo>
                      <a:pt x="314" y="525"/>
                      <a:pt x="327" y="525"/>
                      <a:pt x="348" y="523"/>
                    </a:cubicBezTo>
                    <a:cubicBezTo>
                      <a:pt x="341" y="530"/>
                      <a:pt x="332" y="537"/>
                      <a:pt x="326" y="546"/>
                    </a:cubicBezTo>
                    <a:close/>
                    <a:moveTo>
                      <a:pt x="350" y="859"/>
                    </a:moveTo>
                    <a:cubicBezTo>
                      <a:pt x="353" y="856"/>
                      <a:pt x="362" y="860"/>
                      <a:pt x="370" y="858"/>
                    </a:cubicBezTo>
                    <a:cubicBezTo>
                      <a:pt x="372" y="862"/>
                      <a:pt x="372" y="867"/>
                      <a:pt x="374" y="871"/>
                    </a:cubicBezTo>
                    <a:cubicBezTo>
                      <a:pt x="368" y="873"/>
                      <a:pt x="360" y="875"/>
                      <a:pt x="351" y="875"/>
                    </a:cubicBezTo>
                    <a:lnTo>
                      <a:pt x="350" y="859"/>
                    </a:lnTo>
                    <a:close/>
                    <a:moveTo>
                      <a:pt x="668" y="830"/>
                    </a:moveTo>
                    <a:cubicBezTo>
                      <a:pt x="667" y="828"/>
                      <a:pt x="666" y="826"/>
                      <a:pt x="666" y="822"/>
                    </a:cubicBezTo>
                    <a:cubicBezTo>
                      <a:pt x="673" y="821"/>
                      <a:pt x="677" y="818"/>
                      <a:pt x="682" y="816"/>
                    </a:cubicBezTo>
                    <a:cubicBezTo>
                      <a:pt x="683" y="819"/>
                      <a:pt x="676" y="830"/>
                      <a:pt x="668" y="830"/>
                    </a:cubicBezTo>
                    <a:close/>
                    <a:moveTo>
                      <a:pt x="582" y="843"/>
                    </a:moveTo>
                    <a:cubicBezTo>
                      <a:pt x="584" y="819"/>
                      <a:pt x="576" y="802"/>
                      <a:pt x="580" y="776"/>
                    </a:cubicBezTo>
                    <a:cubicBezTo>
                      <a:pt x="600" y="772"/>
                      <a:pt x="637" y="775"/>
                      <a:pt x="663" y="776"/>
                    </a:cubicBezTo>
                    <a:cubicBezTo>
                      <a:pt x="661" y="792"/>
                      <a:pt x="663" y="814"/>
                      <a:pt x="656" y="825"/>
                    </a:cubicBezTo>
                    <a:cubicBezTo>
                      <a:pt x="637" y="819"/>
                      <a:pt x="628" y="836"/>
                      <a:pt x="623" y="847"/>
                    </a:cubicBezTo>
                    <a:cubicBezTo>
                      <a:pt x="612" y="839"/>
                      <a:pt x="598" y="845"/>
                      <a:pt x="582" y="843"/>
                    </a:cubicBezTo>
                    <a:close/>
                    <a:moveTo>
                      <a:pt x="616" y="863"/>
                    </a:moveTo>
                    <a:cubicBezTo>
                      <a:pt x="609" y="855"/>
                      <a:pt x="595" y="854"/>
                      <a:pt x="578" y="855"/>
                    </a:cubicBezTo>
                    <a:cubicBezTo>
                      <a:pt x="586" y="848"/>
                      <a:pt x="603" y="851"/>
                      <a:pt x="619" y="853"/>
                    </a:cubicBezTo>
                    <a:cubicBezTo>
                      <a:pt x="620" y="858"/>
                      <a:pt x="617" y="860"/>
                      <a:pt x="616" y="863"/>
                    </a:cubicBezTo>
                    <a:close/>
                    <a:moveTo>
                      <a:pt x="639" y="730"/>
                    </a:moveTo>
                    <a:cubicBezTo>
                      <a:pt x="644" y="733"/>
                      <a:pt x="647" y="737"/>
                      <a:pt x="648" y="742"/>
                    </a:cubicBezTo>
                    <a:cubicBezTo>
                      <a:pt x="643" y="741"/>
                      <a:pt x="641" y="736"/>
                      <a:pt x="639" y="730"/>
                    </a:cubicBezTo>
                    <a:close/>
                    <a:moveTo>
                      <a:pt x="620" y="876"/>
                    </a:moveTo>
                    <a:cubicBezTo>
                      <a:pt x="632" y="859"/>
                      <a:pt x="623" y="846"/>
                      <a:pt x="636" y="836"/>
                    </a:cubicBezTo>
                    <a:cubicBezTo>
                      <a:pt x="654" y="823"/>
                      <a:pt x="701" y="845"/>
                      <a:pt x="703" y="868"/>
                    </a:cubicBezTo>
                    <a:cubicBezTo>
                      <a:pt x="703" y="885"/>
                      <a:pt x="689" y="888"/>
                      <a:pt x="687" y="899"/>
                    </a:cubicBezTo>
                    <a:cubicBezTo>
                      <a:pt x="694" y="904"/>
                      <a:pt x="700" y="897"/>
                      <a:pt x="707" y="900"/>
                    </a:cubicBezTo>
                    <a:cubicBezTo>
                      <a:pt x="711" y="921"/>
                      <a:pt x="693" y="929"/>
                      <a:pt x="699" y="946"/>
                    </a:cubicBezTo>
                    <a:cubicBezTo>
                      <a:pt x="725" y="929"/>
                      <a:pt x="733" y="969"/>
                      <a:pt x="716" y="980"/>
                    </a:cubicBezTo>
                    <a:cubicBezTo>
                      <a:pt x="716" y="984"/>
                      <a:pt x="721" y="985"/>
                      <a:pt x="721" y="990"/>
                    </a:cubicBezTo>
                    <a:cubicBezTo>
                      <a:pt x="716" y="994"/>
                      <a:pt x="712" y="1000"/>
                      <a:pt x="711" y="1008"/>
                    </a:cubicBezTo>
                    <a:cubicBezTo>
                      <a:pt x="711" y="1012"/>
                      <a:pt x="717" y="1009"/>
                      <a:pt x="720" y="1010"/>
                    </a:cubicBezTo>
                    <a:cubicBezTo>
                      <a:pt x="736" y="972"/>
                      <a:pt x="765" y="947"/>
                      <a:pt x="823" y="949"/>
                    </a:cubicBezTo>
                    <a:cubicBezTo>
                      <a:pt x="827" y="949"/>
                      <a:pt x="825" y="961"/>
                      <a:pt x="832" y="952"/>
                    </a:cubicBezTo>
                    <a:cubicBezTo>
                      <a:pt x="836" y="959"/>
                      <a:pt x="821" y="972"/>
                      <a:pt x="827" y="981"/>
                    </a:cubicBezTo>
                    <a:cubicBezTo>
                      <a:pt x="818" y="990"/>
                      <a:pt x="808" y="997"/>
                      <a:pt x="805" y="1011"/>
                    </a:cubicBezTo>
                    <a:cubicBezTo>
                      <a:pt x="796" y="1001"/>
                      <a:pt x="766" y="998"/>
                      <a:pt x="766" y="1019"/>
                    </a:cubicBezTo>
                    <a:cubicBezTo>
                      <a:pt x="705" y="1006"/>
                      <a:pt x="622" y="1010"/>
                      <a:pt x="592" y="1050"/>
                    </a:cubicBezTo>
                    <a:cubicBezTo>
                      <a:pt x="587" y="1037"/>
                      <a:pt x="587" y="1018"/>
                      <a:pt x="594" y="1009"/>
                    </a:cubicBezTo>
                    <a:cubicBezTo>
                      <a:pt x="606" y="1009"/>
                      <a:pt x="613" y="1003"/>
                      <a:pt x="619" y="998"/>
                    </a:cubicBezTo>
                    <a:cubicBezTo>
                      <a:pt x="617" y="1011"/>
                      <a:pt x="633" y="1028"/>
                      <a:pt x="642" y="1013"/>
                    </a:cubicBezTo>
                    <a:cubicBezTo>
                      <a:pt x="639" y="1007"/>
                      <a:pt x="634" y="1013"/>
                      <a:pt x="630" y="1006"/>
                    </a:cubicBezTo>
                    <a:cubicBezTo>
                      <a:pt x="628" y="997"/>
                      <a:pt x="634" y="991"/>
                      <a:pt x="627" y="987"/>
                    </a:cubicBezTo>
                    <a:cubicBezTo>
                      <a:pt x="608" y="1003"/>
                      <a:pt x="563" y="1011"/>
                      <a:pt x="565" y="976"/>
                    </a:cubicBezTo>
                    <a:cubicBezTo>
                      <a:pt x="566" y="960"/>
                      <a:pt x="583" y="959"/>
                      <a:pt x="591" y="947"/>
                    </a:cubicBezTo>
                    <a:cubicBezTo>
                      <a:pt x="573" y="941"/>
                      <a:pt x="551" y="942"/>
                      <a:pt x="543" y="929"/>
                    </a:cubicBezTo>
                    <a:cubicBezTo>
                      <a:pt x="519" y="890"/>
                      <a:pt x="590" y="834"/>
                      <a:pt x="620" y="876"/>
                    </a:cubicBezTo>
                    <a:close/>
                    <a:moveTo>
                      <a:pt x="540" y="943"/>
                    </a:moveTo>
                    <a:cubicBezTo>
                      <a:pt x="549" y="943"/>
                      <a:pt x="549" y="943"/>
                      <a:pt x="549" y="943"/>
                    </a:cubicBezTo>
                    <a:cubicBezTo>
                      <a:pt x="551" y="948"/>
                      <a:pt x="537" y="948"/>
                      <a:pt x="540" y="943"/>
                    </a:cubicBezTo>
                    <a:close/>
                    <a:moveTo>
                      <a:pt x="552" y="1003"/>
                    </a:moveTo>
                    <a:cubicBezTo>
                      <a:pt x="559" y="1004"/>
                      <a:pt x="555" y="994"/>
                      <a:pt x="562" y="995"/>
                    </a:cubicBezTo>
                    <a:cubicBezTo>
                      <a:pt x="565" y="1004"/>
                      <a:pt x="572" y="1007"/>
                      <a:pt x="580" y="1009"/>
                    </a:cubicBezTo>
                    <a:cubicBezTo>
                      <a:pt x="581" y="1057"/>
                      <a:pt x="581" y="1057"/>
                      <a:pt x="581" y="1057"/>
                    </a:cubicBezTo>
                    <a:cubicBezTo>
                      <a:pt x="541" y="1052"/>
                      <a:pt x="521" y="1046"/>
                      <a:pt x="477" y="1050"/>
                    </a:cubicBezTo>
                    <a:cubicBezTo>
                      <a:pt x="474" y="1029"/>
                      <a:pt x="477" y="1013"/>
                      <a:pt x="472" y="996"/>
                    </a:cubicBezTo>
                    <a:cubicBezTo>
                      <a:pt x="500" y="1001"/>
                      <a:pt x="536" y="993"/>
                      <a:pt x="552" y="1003"/>
                    </a:cubicBezTo>
                    <a:close/>
                    <a:moveTo>
                      <a:pt x="475" y="1061"/>
                    </a:moveTo>
                    <a:cubicBezTo>
                      <a:pt x="491" y="1057"/>
                      <a:pt x="513" y="1059"/>
                      <a:pt x="532" y="1058"/>
                    </a:cubicBezTo>
                    <a:cubicBezTo>
                      <a:pt x="521" y="1065"/>
                      <a:pt x="508" y="1069"/>
                      <a:pt x="504" y="1082"/>
                    </a:cubicBezTo>
                    <a:cubicBezTo>
                      <a:pt x="497" y="1083"/>
                      <a:pt x="495" y="1080"/>
                      <a:pt x="490" y="1080"/>
                    </a:cubicBezTo>
                    <a:cubicBezTo>
                      <a:pt x="490" y="1074"/>
                      <a:pt x="501" y="1079"/>
                      <a:pt x="500" y="1073"/>
                    </a:cubicBezTo>
                    <a:cubicBezTo>
                      <a:pt x="496" y="1065"/>
                      <a:pt x="473" y="1076"/>
                      <a:pt x="475" y="1061"/>
                    </a:cubicBezTo>
                    <a:close/>
                    <a:moveTo>
                      <a:pt x="521" y="1072"/>
                    </a:moveTo>
                    <a:cubicBezTo>
                      <a:pt x="535" y="1065"/>
                      <a:pt x="550" y="1065"/>
                      <a:pt x="569" y="1066"/>
                    </a:cubicBezTo>
                    <a:cubicBezTo>
                      <a:pt x="546" y="1081"/>
                      <a:pt x="525" y="1105"/>
                      <a:pt x="525" y="1136"/>
                    </a:cubicBezTo>
                    <a:cubicBezTo>
                      <a:pt x="512" y="1142"/>
                      <a:pt x="485" y="1140"/>
                      <a:pt x="466" y="1137"/>
                    </a:cubicBezTo>
                    <a:cubicBezTo>
                      <a:pt x="478" y="1109"/>
                      <a:pt x="507" y="1097"/>
                      <a:pt x="521" y="1072"/>
                    </a:cubicBezTo>
                    <a:close/>
                    <a:moveTo>
                      <a:pt x="490" y="1236"/>
                    </a:moveTo>
                    <a:cubicBezTo>
                      <a:pt x="473" y="1245"/>
                      <a:pt x="464" y="1260"/>
                      <a:pt x="455" y="1277"/>
                    </a:cubicBezTo>
                    <a:cubicBezTo>
                      <a:pt x="436" y="1282"/>
                      <a:pt x="410" y="1276"/>
                      <a:pt x="388" y="1279"/>
                    </a:cubicBezTo>
                    <a:cubicBezTo>
                      <a:pt x="403" y="1244"/>
                      <a:pt x="419" y="1207"/>
                      <a:pt x="462" y="1201"/>
                    </a:cubicBezTo>
                    <a:cubicBezTo>
                      <a:pt x="478" y="1199"/>
                      <a:pt x="490" y="1204"/>
                      <a:pt x="507" y="1205"/>
                    </a:cubicBezTo>
                    <a:cubicBezTo>
                      <a:pt x="510" y="1192"/>
                      <a:pt x="494" y="1198"/>
                      <a:pt x="489" y="1193"/>
                    </a:cubicBezTo>
                    <a:cubicBezTo>
                      <a:pt x="495" y="1182"/>
                      <a:pt x="491" y="1165"/>
                      <a:pt x="481" y="1160"/>
                    </a:cubicBezTo>
                    <a:cubicBezTo>
                      <a:pt x="473" y="1160"/>
                      <a:pt x="470" y="1164"/>
                      <a:pt x="462" y="1164"/>
                    </a:cubicBezTo>
                    <a:cubicBezTo>
                      <a:pt x="460" y="1161"/>
                      <a:pt x="462" y="1150"/>
                      <a:pt x="463" y="1144"/>
                    </a:cubicBezTo>
                    <a:cubicBezTo>
                      <a:pt x="481" y="1150"/>
                      <a:pt x="501" y="1147"/>
                      <a:pt x="527" y="1146"/>
                    </a:cubicBezTo>
                    <a:cubicBezTo>
                      <a:pt x="531" y="1136"/>
                      <a:pt x="543" y="1125"/>
                      <a:pt x="537" y="1114"/>
                    </a:cubicBezTo>
                    <a:cubicBezTo>
                      <a:pt x="549" y="1094"/>
                      <a:pt x="562" y="1074"/>
                      <a:pt x="589" y="1067"/>
                    </a:cubicBezTo>
                    <a:cubicBezTo>
                      <a:pt x="613" y="1021"/>
                      <a:pt x="695" y="1010"/>
                      <a:pt x="759" y="1026"/>
                    </a:cubicBezTo>
                    <a:cubicBezTo>
                      <a:pt x="763" y="1047"/>
                      <a:pt x="762" y="1072"/>
                      <a:pt x="775" y="1083"/>
                    </a:cubicBezTo>
                    <a:cubicBezTo>
                      <a:pt x="768" y="1086"/>
                      <a:pt x="763" y="1090"/>
                      <a:pt x="761" y="1097"/>
                    </a:cubicBezTo>
                    <a:cubicBezTo>
                      <a:pt x="745" y="1075"/>
                      <a:pt x="711" y="1092"/>
                      <a:pt x="683" y="1088"/>
                    </a:cubicBezTo>
                    <a:cubicBezTo>
                      <a:pt x="669" y="1099"/>
                      <a:pt x="675" y="1139"/>
                      <a:pt x="679" y="1157"/>
                    </a:cubicBezTo>
                    <a:cubicBezTo>
                      <a:pt x="660" y="1158"/>
                      <a:pt x="660" y="1158"/>
                      <a:pt x="660" y="1158"/>
                    </a:cubicBezTo>
                    <a:cubicBezTo>
                      <a:pt x="657" y="1153"/>
                      <a:pt x="655" y="1149"/>
                      <a:pt x="654" y="1144"/>
                    </a:cubicBezTo>
                    <a:cubicBezTo>
                      <a:pt x="665" y="1134"/>
                      <a:pt x="663" y="1109"/>
                      <a:pt x="658" y="1092"/>
                    </a:cubicBezTo>
                    <a:cubicBezTo>
                      <a:pt x="656" y="1089"/>
                      <a:pt x="652" y="1089"/>
                      <a:pt x="651" y="1085"/>
                    </a:cubicBezTo>
                    <a:cubicBezTo>
                      <a:pt x="593" y="1077"/>
                      <a:pt x="533" y="1091"/>
                      <a:pt x="548" y="1146"/>
                    </a:cubicBezTo>
                    <a:cubicBezTo>
                      <a:pt x="543" y="1146"/>
                      <a:pt x="539" y="1146"/>
                      <a:pt x="539" y="1150"/>
                    </a:cubicBezTo>
                    <a:cubicBezTo>
                      <a:pt x="539" y="1159"/>
                      <a:pt x="543" y="1164"/>
                      <a:pt x="543" y="1173"/>
                    </a:cubicBezTo>
                    <a:cubicBezTo>
                      <a:pt x="528" y="1194"/>
                      <a:pt x="501" y="1206"/>
                      <a:pt x="490" y="1236"/>
                    </a:cubicBezTo>
                    <a:close/>
                    <a:moveTo>
                      <a:pt x="651" y="1156"/>
                    </a:moveTo>
                    <a:cubicBezTo>
                      <a:pt x="615" y="1153"/>
                      <a:pt x="582" y="1160"/>
                      <a:pt x="554" y="1171"/>
                    </a:cubicBezTo>
                    <a:cubicBezTo>
                      <a:pt x="551" y="1166"/>
                      <a:pt x="550" y="1158"/>
                      <a:pt x="548" y="1151"/>
                    </a:cubicBezTo>
                    <a:cubicBezTo>
                      <a:pt x="564" y="1139"/>
                      <a:pt x="584" y="1147"/>
                      <a:pt x="606" y="1150"/>
                    </a:cubicBezTo>
                    <a:cubicBezTo>
                      <a:pt x="622" y="1152"/>
                      <a:pt x="641" y="1146"/>
                      <a:pt x="651" y="1156"/>
                    </a:cubicBezTo>
                    <a:close/>
                    <a:moveTo>
                      <a:pt x="709" y="1236"/>
                    </a:moveTo>
                    <a:cubicBezTo>
                      <a:pt x="641" y="1225"/>
                      <a:pt x="566" y="1221"/>
                      <a:pt x="499" y="1237"/>
                    </a:cubicBezTo>
                    <a:cubicBezTo>
                      <a:pt x="506" y="1209"/>
                      <a:pt x="532" y="1199"/>
                      <a:pt x="552" y="1183"/>
                    </a:cubicBezTo>
                    <a:cubicBezTo>
                      <a:pt x="546" y="1178"/>
                      <a:pt x="542" y="1189"/>
                      <a:pt x="535" y="1187"/>
                    </a:cubicBezTo>
                    <a:cubicBezTo>
                      <a:pt x="587" y="1156"/>
                      <a:pt x="703" y="1152"/>
                      <a:pt x="761" y="1180"/>
                    </a:cubicBezTo>
                    <a:cubicBezTo>
                      <a:pt x="748" y="1203"/>
                      <a:pt x="730" y="1221"/>
                      <a:pt x="709" y="1236"/>
                    </a:cubicBezTo>
                    <a:close/>
                    <a:moveTo>
                      <a:pt x="777" y="1176"/>
                    </a:moveTo>
                    <a:cubicBezTo>
                      <a:pt x="754" y="1167"/>
                      <a:pt x="721" y="1151"/>
                      <a:pt x="684" y="1157"/>
                    </a:cubicBezTo>
                    <a:cubicBezTo>
                      <a:pt x="684" y="1147"/>
                      <a:pt x="684" y="1147"/>
                      <a:pt x="684" y="1147"/>
                    </a:cubicBezTo>
                    <a:cubicBezTo>
                      <a:pt x="718" y="1148"/>
                      <a:pt x="750" y="1152"/>
                      <a:pt x="774" y="1152"/>
                    </a:cubicBezTo>
                    <a:cubicBezTo>
                      <a:pt x="777" y="1144"/>
                      <a:pt x="770" y="1146"/>
                      <a:pt x="771" y="1141"/>
                    </a:cubicBezTo>
                    <a:cubicBezTo>
                      <a:pt x="781" y="1136"/>
                      <a:pt x="783" y="1169"/>
                      <a:pt x="777" y="1176"/>
                    </a:cubicBezTo>
                    <a:close/>
                    <a:moveTo>
                      <a:pt x="794" y="1178"/>
                    </a:moveTo>
                    <a:cubicBezTo>
                      <a:pt x="784" y="1179"/>
                      <a:pt x="787" y="1161"/>
                      <a:pt x="789" y="1155"/>
                    </a:cubicBezTo>
                    <a:cubicBezTo>
                      <a:pt x="794" y="1158"/>
                      <a:pt x="800" y="1161"/>
                      <a:pt x="806" y="1163"/>
                    </a:cubicBezTo>
                    <a:cubicBezTo>
                      <a:pt x="802" y="1168"/>
                      <a:pt x="796" y="1170"/>
                      <a:pt x="794" y="1178"/>
                    </a:cubicBezTo>
                    <a:close/>
                    <a:moveTo>
                      <a:pt x="831" y="1212"/>
                    </a:moveTo>
                    <a:cubicBezTo>
                      <a:pt x="833" y="1206"/>
                      <a:pt x="825" y="1211"/>
                      <a:pt x="827" y="1205"/>
                    </a:cubicBezTo>
                    <a:cubicBezTo>
                      <a:pt x="831" y="1201"/>
                      <a:pt x="838" y="1204"/>
                      <a:pt x="838" y="1210"/>
                    </a:cubicBezTo>
                    <a:cubicBezTo>
                      <a:pt x="834" y="1210"/>
                      <a:pt x="834" y="1213"/>
                      <a:pt x="831" y="1212"/>
                    </a:cubicBezTo>
                    <a:close/>
                    <a:moveTo>
                      <a:pt x="885" y="1209"/>
                    </a:moveTo>
                    <a:cubicBezTo>
                      <a:pt x="872" y="1206"/>
                      <a:pt x="862" y="1207"/>
                      <a:pt x="848" y="1208"/>
                    </a:cubicBezTo>
                    <a:cubicBezTo>
                      <a:pt x="843" y="1204"/>
                      <a:pt x="841" y="1198"/>
                      <a:pt x="839" y="1191"/>
                    </a:cubicBezTo>
                    <a:cubicBezTo>
                      <a:pt x="831" y="1190"/>
                      <a:pt x="828" y="1194"/>
                      <a:pt x="825" y="1198"/>
                    </a:cubicBezTo>
                    <a:cubicBezTo>
                      <a:pt x="820" y="1195"/>
                      <a:pt x="809" y="1193"/>
                      <a:pt x="814" y="1184"/>
                    </a:cubicBezTo>
                    <a:cubicBezTo>
                      <a:pt x="812" y="1179"/>
                      <a:pt x="809" y="1187"/>
                      <a:pt x="803" y="1185"/>
                    </a:cubicBezTo>
                    <a:cubicBezTo>
                      <a:pt x="800" y="1171"/>
                      <a:pt x="812" y="1173"/>
                      <a:pt x="815" y="1167"/>
                    </a:cubicBezTo>
                    <a:cubicBezTo>
                      <a:pt x="796" y="1150"/>
                      <a:pt x="757" y="1128"/>
                      <a:pt x="771" y="1093"/>
                    </a:cubicBezTo>
                    <a:cubicBezTo>
                      <a:pt x="780" y="1092"/>
                      <a:pt x="785" y="1097"/>
                      <a:pt x="789" y="1091"/>
                    </a:cubicBezTo>
                    <a:cubicBezTo>
                      <a:pt x="772" y="1073"/>
                      <a:pt x="759" y="1037"/>
                      <a:pt x="777" y="1012"/>
                    </a:cubicBezTo>
                    <a:cubicBezTo>
                      <a:pt x="793" y="1005"/>
                      <a:pt x="799" y="1019"/>
                      <a:pt x="807" y="1027"/>
                    </a:cubicBezTo>
                    <a:cubicBezTo>
                      <a:pt x="812" y="1014"/>
                      <a:pt x="815" y="998"/>
                      <a:pt x="826" y="989"/>
                    </a:cubicBezTo>
                    <a:cubicBezTo>
                      <a:pt x="859" y="976"/>
                      <a:pt x="890" y="991"/>
                      <a:pt x="892" y="1027"/>
                    </a:cubicBezTo>
                    <a:cubicBezTo>
                      <a:pt x="885" y="1028"/>
                      <a:pt x="880" y="1030"/>
                      <a:pt x="878" y="1034"/>
                    </a:cubicBezTo>
                    <a:cubicBezTo>
                      <a:pt x="881" y="1048"/>
                      <a:pt x="893" y="1035"/>
                      <a:pt x="899" y="1032"/>
                    </a:cubicBezTo>
                    <a:cubicBezTo>
                      <a:pt x="940" y="1033"/>
                      <a:pt x="937" y="1094"/>
                      <a:pt x="906" y="1103"/>
                    </a:cubicBezTo>
                    <a:cubicBezTo>
                      <a:pt x="907" y="1115"/>
                      <a:pt x="922" y="1106"/>
                      <a:pt x="924" y="1106"/>
                    </a:cubicBezTo>
                    <a:cubicBezTo>
                      <a:pt x="924" y="1116"/>
                      <a:pt x="919" y="1120"/>
                      <a:pt x="919" y="1129"/>
                    </a:cubicBezTo>
                    <a:cubicBezTo>
                      <a:pt x="911" y="1125"/>
                      <a:pt x="910" y="1114"/>
                      <a:pt x="902" y="1110"/>
                    </a:cubicBezTo>
                    <a:cubicBezTo>
                      <a:pt x="927" y="1144"/>
                      <a:pt x="873" y="1163"/>
                      <a:pt x="885" y="1209"/>
                    </a:cubicBezTo>
                    <a:close/>
                    <a:moveTo>
                      <a:pt x="1022" y="989"/>
                    </a:moveTo>
                    <a:cubicBezTo>
                      <a:pt x="1006" y="978"/>
                      <a:pt x="973" y="989"/>
                      <a:pt x="956" y="983"/>
                    </a:cubicBezTo>
                    <a:cubicBezTo>
                      <a:pt x="943" y="993"/>
                      <a:pt x="938" y="1027"/>
                      <a:pt x="943" y="1043"/>
                    </a:cubicBezTo>
                    <a:cubicBezTo>
                      <a:pt x="936" y="1052"/>
                      <a:pt x="943" y="1080"/>
                      <a:pt x="952" y="1089"/>
                    </a:cubicBezTo>
                    <a:cubicBezTo>
                      <a:pt x="956" y="1081"/>
                      <a:pt x="948" y="1068"/>
                      <a:pt x="949" y="1052"/>
                    </a:cubicBezTo>
                    <a:cubicBezTo>
                      <a:pt x="975" y="1047"/>
                      <a:pt x="1014" y="1041"/>
                      <a:pt x="1041" y="1048"/>
                    </a:cubicBezTo>
                    <a:cubicBezTo>
                      <a:pt x="1052" y="1046"/>
                      <a:pt x="1050" y="1036"/>
                      <a:pt x="1062" y="1037"/>
                    </a:cubicBezTo>
                    <a:cubicBezTo>
                      <a:pt x="1057" y="1030"/>
                      <a:pt x="1055" y="1019"/>
                      <a:pt x="1051" y="1011"/>
                    </a:cubicBezTo>
                    <a:cubicBezTo>
                      <a:pt x="1054" y="1009"/>
                      <a:pt x="1064" y="1015"/>
                      <a:pt x="1070" y="1016"/>
                    </a:cubicBezTo>
                    <a:cubicBezTo>
                      <a:pt x="1065" y="1034"/>
                      <a:pt x="1079" y="1044"/>
                      <a:pt x="1092" y="1049"/>
                    </a:cubicBezTo>
                    <a:cubicBezTo>
                      <a:pt x="1079" y="1055"/>
                      <a:pt x="1067" y="1045"/>
                      <a:pt x="1060" y="1055"/>
                    </a:cubicBezTo>
                    <a:cubicBezTo>
                      <a:pt x="1054" y="1056"/>
                      <a:pt x="1059" y="1044"/>
                      <a:pt x="1055" y="1043"/>
                    </a:cubicBezTo>
                    <a:cubicBezTo>
                      <a:pt x="1049" y="1044"/>
                      <a:pt x="1050" y="1052"/>
                      <a:pt x="1050" y="1059"/>
                    </a:cubicBezTo>
                    <a:cubicBezTo>
                      <a:pt x="1042" y="1061"/>
                      <a:pt x="1039" y="1066"/>
                      <a:pt x="1029" y="1066"/>
                    </a:cubicBezTo>
                    <a:cubicBezTo>
                      <a:pt x="1024" y="1068"/>
                      <a:pt x="1026" y="1077"/>
                      <a:pt x="1022" y="1079"/>
                    </a:cubicBezTo>
                    <a:cubicBezTo>
                      <a:pt x="1004" y="1091"/>
                      <a:pt x="979" y="1079"/>
                      <a:pt x="962" y="1087"/>
                    </a:cubicBezTo>
                    <a:cubicBezTo>
                      <a:pt x="947" y="1094"/>
                      <a:pt x="945" y="1111"/>
                      <a:pt x="931" y="1116"/>
                    </a:cubicBezTo>
                    <a:cubicBezTo>
                      <a:pt x="935" y="1107"/>
                      <a:pt x="931" y="1100"/>
                      <a:pt x="927" y="1093"/>
                    </a:cubicBezTo>
                    <a:cubicBezTo>
                      <a:pt x="948" y="1076"/>
                      <a:pt x="934" y="1039"/>
                      <a:pt x="917" y="1026"/>
                    </a:cubicBezTo>
                    <a:cubicBezTo>
                      <a:pt x="922" y="1025"/>
                      <a:pt x="919" y="1032"/>
                      <a:pt x="925" y="1030"/>
                    </a:cubicBezTo>
                    <a:cubicBezTo>
                      <a:pt x="933" y="1023"/>
                      <a:pt x="930" y="1007"/>
                      <a:pt x="930" y="994"/>
                    </a:cubicBezTo>
                    <a:cubicBezTo>
                      <a:pt x="919" y="981"/>
                      <a:pt x="893" y="977"/>
                      <a:pt x="877" y="985"/>
                    </a:cubicBezTo>
                    <a:cubicBezTo>
                      <a:pt x="867" y="982"/>
                      <a:pt x="862" y="975"/>
                      <a:pt x="848" y="977"/>
                    </a:cubicBezTo>
                    <a:cubicBezTo>
                      <a:pt x="864" y="960"/>
                      <a:pt x="863" y="935"/>
                      <a:pt x="882" y="917"/>
                    </a:cubicBezTo>
                    <a:cubicBezTo>
                      <a:pt x="913" y="889"/>
                      <a:pt x="991" y="894"/>
                      <a:pt x="1027" y="912"/>
                    </a:cubicBezTo>
                    <a:cubicBezTo>
                      <a:pt x="1027" y="929"/>
                      <a:pt x="1034" y="939"/>
                      <a:pt x="1039" y="951"/>
                    </a:cubicBezTo>
                    <a:cubicBezTo>
                      <a:pt x="1027" y="957"/>
                      <a:pt x="1020" y="975"/>
                      <a:pt x="1022" y="989"/>
                    </a:cubicBezTo>
                    <a:close/>
                    <a:moveTo>
                      <a:pt x="941" y="1233"/>
                    </a:moveTo>
                    <a:cubicBezTo>
                      <a:pt x="941" y="1246"/>
                      <a:pt x="940" y="1258"/>
                      <a:pt x="931" y="1261"/>
                    </a:cubicBezTo>
                    <a:cubicBezTo>
                      <a:pt x="928" y="1247"/>
                      <a:pt x="929" y="1237"/>
                      <a:pt x="941" y="1233"/>
                    </a:cubicBezTo>
                    <a:close/>
                    <a:moveTo>
                      <a:pt x="851" y="1323"/>
                    </a:moveTo>
                    <a:cubicBezTo>
                      <a:pt x="859" y="1321"/>
                      <a:pt x="869" y="1321"/>
                      <a:pt x="875" y="1317"/>
                    </a:cubicBezTo>
                    <a:cubicBezTo>
                      <a:pt x="883" y="1318"/>
                      <a:pt x="876" y="1334"/>
                      <a:pt x="885" y="1333"/>
                    </a:cubicBezTo>
                    <a:cubicBezTo>
                      <a:pt x="877" y="1344"/>
                      <a:pt x="865" y="1350"/>
                      <a:pt x="848" y="1352"/>
                    </a:cubicBezTo>
                    <a:cubicBezTo>
                      <a:pt x="854" y="1344"/>
                      <a:pt x="855" y="1332"/>
                      <a:pt x="851" y="1323"/>
                    </a:cubicBezTo>
                    <a:close/>
                    <a:moveTo>
                      <a:pt x="916" y="1318"/>
                    </a:moveTo>
                    <a:cubicBezTo>
                      <a:pt x="893" y="1347"/>
                      <a:pt x="880" y="1384"/>
                      <a:pt x="824" y="1375"/>
                    </a:cubicBezTo>
                    <a:cubicBezTo>
                      <a:pt x="822" y="1369"/>
                      <a:pt x="826" y="1367"/>
                      <a:pt x="825" y="1361"/>
                    </a:cubicBezTo>
                    <a:cubicBezTo>
                      <a:pt x="907" y="1368"/>
                      <a:pt x="903" y="1289"/>
                      <a:pt x="952" y="1259"/>
                    </a:cubicBezTo>
                    <a:cubicBezTo>
                      <a:pt x="950" y="1281"/>
                      <a:pt x="932" y="1298"/>
                      <a:pt x="916" y="1318"/>
                    </a:cubicBezTo>
                    <a:close/>
                    <a:moveTo>
                      <a:pt x="956" y="1280"/>
                    </a:moveTo>
                    <a:cubicBezTo>
                      <a:pt x="958" y="1273"/>
                      <a:pt x="962" y="1269"/>
                      <a:pt x="961" y="1259"/>
                    </a:cubicBezTo>
                    <a:cubicBezTo>
                      <a:pt x="968" y="1262"/>
                      <a:pt x="965" y="1282"/>
                      <a:pt x="956" y="1280"/>
                    </a:cubicBezTo>
                    <a:close/>
                    <a:moveTo>
                      <a:pt x="951" y="1229"/>
                    </a:moveTo>
                    <a:cubicBezTo>
                      <a:pt x="959" y="1230"/>
                      <a:pt x="981" y="1231"/>
                      <a:pt x="983" y="1248"/>
                    </a:cubicBezTo>
                    <a:cubicBezTo>
                      <a:pt x="977" y="1248"/>
                      <a:pt x="964" y="1224"/>
                      <a:pt x="950" y="1238"/>
                    </a:cubicBezTo>
                    <a:cubicBezTo>
                      <a:pt x="946" y="1212"/>
                      <a:pt x="923" y="1208"/>
                      <a:pt x="894" y="1209"/>
                    </a:cubicBezTo>
                    <a:cubicBezTo>
                      <a:pt x="890" y="1149"/>
                      <a:pt x="937" y="1129"/>
                      <a:pt x="966" y="1096"/>
                    </a:cubicBezTo>
                    <a:cubicBezTo>
                      <a:pt x="978" y="1094"/>
                      <a:pt x="986" y="1091"/>
                      <a:pt x="999" y="1093"/>
                    </a:cubicBezTo>
                    <a:cubicBezTo>
                      <a:pt x="988" y="1109"/>
                      <a:pt x="974" y="1122"/>
                      <a:pt x="963" y="1138"/>
                    </a:cubicBezTo>
                    <a:cubicBezTo>
                      <a:pt x="966" y="1168"/>
                      <a:pt x="950" y="1191"/>
                      <a:pt x="953" y="1215"/>
                    </a:cubicBezTo>
                    <a:cubicBezTo>
                      <a:pt x="980" y="1211"/>
                      <a:pt x="1026" y="1229"/>
                      <a:pt x="1050" y="1216"/>
                    </a:cubicBezTo>
                    <a:cubicBezTo>
                      <a:pt x="1051" y="1231"/>
                      <a:pt x="1049" y="1249"/>
                      <a:pt x="1053" y="1260"/>
                    </a:cubicBezTo>
                    <a:cubicBezTo>
                      <a:pt x="1031" y="1261"/>
                      <a:pt x="1015" y="1256"/>
                      <a:pt x="992" y="1258"/>
                    </a:cubicBezTo>
                    <a:cubicBezTo>
                      <a:pt x="987" y="1237"/>
                      <a:pt x="980" y="1218"/>
                      <a:pt x="951" y="1222"/>
                    </a:cubicBezTo>
                    <a:lnTo>
                      <a:pt x="951" y="1229"/>
                    </a:lnTo>
                    <a:close/>
                    <a:moveTo>
                      <a:pt x="998" y="1276"/>
                    </a:moveTo>
                    <a:cubicBezTo>
                      <a:pt x="991" y="1278"/>
                      <a:pt x="999" y="1287"/>
                      <a:pt x="997" y="1288"/>
                    </a:cubicBezTo>
                    <a:cubicBezTo>
                      <a:pt x="989" y="1284"/>
                      <a:pt x="994" y="1276"/>
                      <a:pt x="993" y="1267"/>
                    </a:cubicBezTo>
                    <a:cubicBezTo>
                      <a:pt x="1015" y="1266"/>
                      <a:pt x="1036" y="1267"/>
                      <a:pt x="1053" y="1271"/>
                    </a:cubicBezTo>
                    <a:cubicBezTo>
                      <a:pt x="1048" y="1285"/>
                      <a:pt x="1017" y="1270"/>
                      <a:pt x="998" y="1276"/>
                    </a:cubicBezTo>
                    <a:close/>
                    <a:moveTo>
                      <a:pt x="1140" y="1280"/>
                    </a:moveTo>
                    <a:cubicBezTo>
                      <a:pt x="1117" y="1278"/>
                      <a:pt x="1088" y="1278"/>
                      <a:pt x="1064" y="1276"/>
                    </a:cubicBezTo>
                    <a:cubicBezTo>
                      <a:pt x="1064" y="1272"/>
                      <a:pt x="1064" y="1272"/>
                      <a:pt x="1064" y="1272"/>
                    </a:cubicBezTo>
                    <a:cubicBezTo>
                      <a:pt x="1063" y="1269"/>
                      <a:pt x="1065" y="1269"/>
                      <a:pt x="1065" y="1271"/>
                    </a:cubicBezTo>
                    <a:cubicBezTo>
                      <a:pt x="1101" y="1271"/>
                      <a:pt x="1128" y="1272"/>
                      <a:pt x="1164" y="1274"/>
                    </a:cubicBezTo>
                    <a:cubicBezTo>
                      <a:pt x="1166" y="1288"/>
                      <a:pt x="1148" y="1280"/>
                      <a:pt x="1140" y="1280"/>
                    </a:cubicBezTo>
                    <a:close/>
                    <a:moveTo>
                      <a:pt x="1062" y="1262"/>
                    </a:moveTo>
                    <a:cubicBezTo>
                      <a:pt x="1061" y="1246"/>
                      <a:pt x="1056" y="1229"/>
                      <a:pt x="1059" y="1216"/>
                    </a:cubicBezTo>
                    <a:cubicBezTo>
                      <a:pt x="1093" y="1220"/>
                      <a:pt x="1123" y="1217"/>
                      <a:pt x="1158" y="1223"/>
                    </a:cubicBezTo>
                    <a:cubicBezTo>
                      <a:pt x="1163" y="1223"/>
                      <a:pt x="1163" y="1218"/>
                      <a:pt x="1165" y="1215"/>
                    </a:cubicBezTo>
                    <a:cubicBezTo>
                      <a:pt x="1169" y="1227"/>
                      <a:pt x="1165" y="1249"/>
                      <a:pt x="1169" y="1261"/>
                    </a:cubicBezTo>
                    <a:cubicBezTo>
                      <a:pt x="1134" y="1268"/>
                      <a:pt x="1097" y="1261"/>
                      <a:pt x="1062" y="1262"/>
                    </a:cubicBezTo>
                    <a:close/>
                    <a:moveTo>
                      <a:pt x="1063" y="1161"/>
                    </a:moveTo>
                    <a:cubicBezTo>
                      <a:pt x="1069" y="1161"/>
                      <a:pt x="1068" y="1159"/>
                      <a:pt x="1073" y="1161"/>
                    </a:cubicBezTo>
                    <a:cubicBezTo>
                      <a:pt x="1065" y="1169"/>
                      <a:pt x="1072" y="1191"/>
                      <a:pt x="1062" y="1198"/>
                    </a:cubicBezTo>
                    <a:cubicBezTo>
                      <a:pt x="1061" y="1184"/>
                      <a:pt x="1070" y="1172"/>
                      <a:pt x="1063" y="1161"/>
                    </a:cubicBezTo>
                    <a:close/>
                    <a:moveTo>
                      <a:pt x="1146" y="1170"/>
                    </a:moveTo>
                    <a:cubicBezTo>
                      <a:pt x="1145" y="1166"/>
                      <a:pt x="1147" y="1165"/>
                      <a:pt x="1148" y="1163"/>
                    </a:cubicBezTo>
                    <a:cubicBezTo>
                      <a:pt x="1160" y="1173"/>
                      <a:pt x="1176" y="1188"/>
                      <a:pt x="1177" y="1204"/>
                    </a:cubicBezTo>
                    <a:cubicBezTo>
                      <a:pt x="1164" y="1195"/>
                      <a:pt x="1157" y="1181"/>
                      <a:pt x="1146" y="1170"/>
                    </a:cubicBezTo>
                    <a:close/>
                    <a:moveTo>
                      <a:pt x="1173" y="1288"/>
                    </a:moveTo>
                    <a:cubicBezTo>
                      <a:pt x="1169" y="1272"/>
                      <a:pt x="1179" y="1255"/>
                      <a:pt x="1190" y="1248"/>
                    </a:cubicBezTo>
                    <a:cubicBezTo>
                      <a:pt x="1193" y="1256"/>
                      <a:pt x="1172" y="1270"/>
                      <a:pt x="1173" y="1288"/>
                    </a:cubicBezTo>
                    <a:close/>
                    <a:moveTo>
                      <a:pt x="1228" y="1290"/>
                    </a:moveTo>
                    <a:cubicBezTo>
                      <a:pt x="1220" y="1289"/>
                      <a:pt x="1218" y="1294"/>
                      <a:pt x="1211" y="1294"/>
                    </a:cubicBezTo>
                    <a:cubicBezTo>
                      <a:pt x="1198" y="1282"/>
                      <a:pt x="1215" y="1264"/>
                      <a:pt x="1228" y="1276"/>
                    </a:cubicBezTo>
                    <a:cubicBezTo>
                      <a:pt x="1231" y="1281"/>
                      <a:pt x="1229" y="1284"/>
                      <a:pt x="1228" y="1290"/>
                    </a:cubicBezTo>
                    <a:close/>
                    <a:moveTo>
                      <a:pt x="1360" y="1169"/>
                    </a:moveTo>
                    <a:cubicBezTo>
                      <a:pt x="1363" y="1168"/>
                      <a:pt x="1363" y="1170"/>
                      <a:pt x="1364" y="1172"/>
                    </a:cubicBezTo>
                    <a:cubicBezTo>
                      <a:pt x="1343" y="1208"/>
                      <a:pt x="1329" y="1249"/>
                      <a:pt x="1304" y="1281"/>
                    </a:cubicBezTo>
                    <a:cubicBezTo>
                      <a:pt x="1292" y="1280"/>
                      <a:pt x="1275" y="1284"/>
                      <a:pt x="1265" y="1280"/>
                    </a:cubicBezTo>
                    <a:cubicBezTo>
                      <a:pt x="1267" y="1262"/>
                      <a:pt x="1289" y="1270"/>
                      <a:pt x="1300" y="1265"/>
                    </a:cubicBezTo>
                    <a:cubicBezTo>
                      <a:pt x="1328" y="1254"/>
                      <a:pt x="1335" y="1197"/>
                      <a:pt x="1351" y="1172"/>
                    </a:cubicBezTo>
                    <a:cubicBezTo>
                      <a:pt x="1355" y="1171"/>
                      <a:pt x="1362" y="1174"/>
                      <a:pt x="1360" y="1169"/>
                    </a:cubicBezTo>
                    <a:close/>
                    <a:moveTo>
                      <a:pt x="1282" y="1243"/>
                    </a:moveTo>
                    <a:cubicBezTo>
                      <a:pt x="1283" y="1229"/>
                      <a:pt x="1295" y="1226"/>
                      <a:pt x="1306" y="1219"/>
                    </a:cubicBezTo>
                    <a:cubicBezTo>
                      <a:pt x="1311" y="1221"/>
                      <a:pt x="1312" y="1228"/>
                      <a:pt x="1315" y="1231"/>
                    </a:cubicBezTo>
                    <a:cubicBezTo>
                      <a:pt x="1309" y="1244"/>
                      <a:pt x="1305" y="1258"/>
                      <a:pt x="1286" y="1259"/>
                    </a:cubicBezTo>
                    <a:cubicBezTo>
                      <a:pt x="1292" y="1251"/>
                      <a:pt x="1282" y="1249"/>
                      <a:pt x="1282" y="1243"/>
                    </a:cubicBezTo>
                    <a:close/>
                    <a:moveTo>
                      <a:pt x="1317" y="1215"/>
                    </a:moveTo>
                    <a:cubicBezTo>
                      <a:pt x="1321" y="1215"/>
                      <a:pt x="1322" y="1217"/>
                      <a:pt x="1324" y="1217"/>
                    </a:cubicBezTo>
                    <a:cubicBezTo>
                      <a:pt x="1323" y="1219"/>
                      <a:pt x="1322" y="1220"/>
                      <a:pt x="1322" y="1222"/>
                    </a:cubicBezTo>
                    <a:cubicBezTo>
                      <a:pt x="1318" y="1223"/>
                      <a:pt x="1318" y="1219"/>
                      <a:pt x="1317" y="1215"/>
                    </a:cubicBezTo>
                    <a:close/>
                    <a:moveTo>
                      <a:pt x="1349" y="1139"/>
                    </a:moveTo>
                    <a:cubicBezTo>
                      <a:pt x="1353" y="1142"/>
                      <a:pt x="1350" y="1152"/>
                      <a:pt x="1351" y="1158"/>
                    </a:cubicBezTo>
                    <a:cubicBezTo>
                      <a:pt x="1344" y="1159"/>
                      <a:pt x="1346" y="1151"/>
                      <a:pt x="1338" y="1153"/>
                    </a:cubicBezTo>
                    <a:cubicBezTo>
                      <a:pt x="1340" y="1146"/>
                      <a:pt x="1347" y="1145"/>
                      <a:pt x="1349" y="1139"/>
                    </a:cubicBezTo>
                    <a:close/>
                    <a:moveTo>
                      <a:pt x="1224" y="1117"/>
                    </a:moveTo>
                    <a:cubicBezTo>
                      <a:pt x="1265" y="1125"/>
                      <a:pt x="1309" y="1111"/>
                      <a:pt x="1341" y="1125"/>
                    </a:cubicBezTo>
                    <a:cubicBezTo>
                      <a:pt x="1326" y="1161"/>
                      <a:pt x="1320" y="1202"/>
                      <a:pt x="1285" y="1223"/>
                    </a:cubicBezTo>
                    <a:cubicBezTo>
                      <a:pt x="1280" y="1217"/>
                      <a:pt x="1271" y="1214"/>
                      <a:pt x="1264" y="1210"/>
                    </a:cubicBezTo>
                    <a:cubicBezTo>
                      <a:pt x="1247" y="1213"/>
                      <a:pt x="1227" y="1208"/>
                      <a:pt x="1211" y="1207"/>
                    </a:cubicBezTo>
                    <a:cubicBezTo>
                      <a:pt x="1202" y="1207"/>
                      <a:pt x="1184" y="1205"/>
                      <a:pt x="1186" y="1218"/>
                    </a:cubicBezTo>
                    <a:cubicBezTo>
                      <a:pt x="1206" y="1218"/>
                      <a:pt x="1260" y="1211"/>
                      <a:pt x="1277" y="1229"/>
                    </a:cubicBezTo>
                    <a:cubicBezTo>
                      <a:pt x="1271" y="1238"/>
                      <a:pt x="1276" y="1248"/>
                      <a:pt x="1275" y="1261"/>
                    </a:cubicBezTo>
                    <a:cubicBezTo>
                      <a:pt x="1264" y="1260"/>
                      <a:pt x="1258" y="1264"/>
                      <a:pt x="1258" y="1273"/>
                    </a:cubicBezTo>
                    <a:cubicBezTo>
                      <a:pt x="1250" y="1241"/>
                      <a:pt x="1206" y="1226"/>
                      <a:pt x="1176" y="1247"/>
                    </a:cubicBezTo>
                    <a:cubicBezTo>
                      <a:pt x="1172" y="1241"/>
                      <a:pt x="1175" y="1228"/>
                      <a:pt x="1174" y="1219"/>
                    </a:cubicBezTo>
                    <a:cubicBezTo>
                      <a:pt x="1202" y="1195"/>
                      <a:pt x="1204" y="1147"/>
                      <a:pt x="1224" y="1117"/>
                    </a:cubicBezTo>
                    <a:close/>
                    <a:moveTo>
                      <a:pt x="1190" y="1068"/>
                    </a:moveTo>
                    <a:cubicBezTo>
                      <a:pt x="1176" y="1101"/>
                      <a:pt x="1155" y="1126"/>
                      <a:pt x="1141" y="1158"/>
                    </a:cubicBezTo>
                    <a:cubicBezTo>
                      <a:pt x="1099" y="1154"/>
                      <a:pt x="998" y="1141"/>
                      <a:pt x="971" y="1163"/>
                    </a:cubicBezTo>
                    <a:cubicBezTo>
                      <a:pt x="968" y="1133"/>
                      <a:pt x="994" y="1117"/>
                      <a:pt x="1008" y="1099"/>
                    </a:cubicBezTo>
                    <a:cubicBezTo>
                      <a:pt x="1023" y="1101"/>
                      <a:pt x="1032" y="1086"/>
                      <a:pt x="1038" y="1075"/>
                    </a:cubicBezTo>
                    <a:cubicBezTo>
                      <a:pt x="1048" y="1075"/>
                      <a:pt x="1048" y="1075"/>
                      <a:pt x="1048" y="1075"/>
                    </a:cubicBezTo>
                    <a:cubicBezTo>
                      <a:pt x="1070" y="1047"/>
                      <a:pt x="1155" y="1064"/>
                      <a:pt x="1190" y="1068"/>
                    </a:cubicBezTo>
                    <a:close/>
                    <a:moveTo>
                      <a:pt x="1171" y="1035"/>
                    </a:moveTo>
                    <a:cubicBezTo>
                      <a:pt x="1168" y="1034"/>
                      <a:pt x="1167" y="1031"/>
                      <a:pt x="1162" y="1031"/>
                    </a:cubicBezTo>
                    <a:cubicBezTo>
                      <a:pt x="1165" y="1021"/>
                      <a:pt x="1163" y="1014"/>
                      <a:pt x="1160" y="1005"/>
                    </a:cubicBezTo>
                    <a:cubicBezTo>
                      <a:pt x="1165" y="1004"/>
                      <a:pt x="1169" y="1002"/>
                      <a:pt x="1171" y="998"/>
                    </a:cubicBezTo>
                    <a:cubicBezTo>
                      <a:pt x="1175" y="1008"/>
                      <a:pt x="1170" y="1019"/>
                      <a:pt x="1171" y="1035"/>
                    </a:cubicBezTo>
                    <a:close/>
                    <a:moveTo>
                      <a:pt x="1141" y="1002"/>
                    </a:moveTo>
                    <a:cubicBezTo>
                      <a:pt x="1141" y="1010"/>
                      <a:pt x="1152" y="1007"/>
                      <a:pt x="1155" y="1012"/>
                    </a:cubicBezTo>
                    <a:cubicBezTo>
                      <a:pt x="1159" y="1023"/>
                      <a:pt x="1153" y="1030"/>
                      <a:pt x="1152" y="1041"/>
                    </a:cubicBezTo>
                    <a:cubicBezTo>
                      <a:pt x="1159" y="1045"/>
                      <a:pt x="1175" y="1038"/>
                      <a:pt x="1172" y="1052"/>
                    </a:cubicBezTo>
                    <a:cubicBezTo>
                      <a:pt x="1156" y="1053"/>
                      <a:pt x="1133" y="1054"/>
                      <a:pt x="1117" y="1052"/>
                    </a:cubicBezTo>
                    <a:cubicBezTo>
                      <a:pt x="1111" y="1054"/>
                      <a:pt x="1114" y="1046"/>
                      <a:pt x="1111" y="1045"/>
                    </a:cubicBezTo>
                    <a:cubicBezTo>
                      <a:pt x="1092" y="1046"/>
                      <a:pt x="1080" y="1038"/>
                      <a:pt x="1076" y="1023"/>
                    </a:cubicBezTo>
                    <a:cubicBezTo>
                      <a:pt x="1077" y="1018"/>
                      <a:pt x="1081" y="1016"/>
                      <a:pt x="1082" y="1012"/>
                    </a:cubicBezTo>
                    <a:cubicBezTo>
                      <a:pt x="1066" y="1003"/>
                      <a:pt x="1032" y="1007"/>
                      <a:pt x="1029" y="983"/>
                    </a:cubicBezTo>
                    <a:cubicBezTo>
                      <a:pt x="1027" y="973"/>
                      <a:pt x="1035" y="954"/>
                      <a:pt x="1053" y="960"/>
                    </a:cubicBezTo>
                    <a:cubicBezTo>
                      <a:pt x="1046" y="940"/>
                      <a:pt x="1023" y="918"/>
                      <a:pt x="1041" y="891"/>
                    </a:cubicBezTo>
                    <a:cubicBezTo>
                      <a:pt x="1058" y="884"/>
                      <a:pt x="1076" y="884"/>
                      <a:pt x="1083" y="899"/>
                    </a:cubicBezTo>
                    <a:cubicBezTo>
                      <a:pt x="1090" y="898"/>
                      <a:pt x="1088" y="887"/>
                      <a:pt x="1088" y="879"/>
                    </a:cubicBezTo>
                    <a:cubicBezTo>
                      <a:pt x="1093" y="866"/>
                      <a:pt x="1102" y="855"/>
                      <a:pt x="1111" y="845"/>
                    </a:cubicBezTo>
                    <a:cubicBezTo>
                      <a:pt x="1151" y="842"/>
                      <a:pt x="1180" y="867"/>
                      <a:pt x="1168" y="906"/>
                    </a:cubicBezTo>
                    <a:cubicBezTo>
                      <a:pt x="1165" y="910"/>
                      <a:pt x="1156" y="909"/>
                      <a:pt x="1155" y="915"/>
                    </a:cubicBezTo>
                    <a:cubicBezTo>
                      <a:pt x="1162" y="928"/>
                      <a:pt x="1176" y="907"/>
                      <a:pt x="1190" y="916"/>
                    </a:cubicBezTo>
                    <a:cubicBezTo>
                      <a:pt x="1208" y="954"/>
                      <a:pt x="1182" y="996"/>
                      <a:pt x="1141" y="1002"/>
                    </a:cubicBezTo>
                    <a:close/>
                    <a:moveTo>
                      <a:pt x="1227" y="761"/>
                    </a:moveTo>
                    <a:cubicBezTo>
                      <a:pt x="1223" y="771"/>
                      <a:pt x="1219" y="780"/>
                      <a:pt x="1210" y="785"/>
                    </a:cubicBezTo>
                    <a:cubicBezTo>
                      <a:pt x="1220" y="810"/>
                      <a:pt x="1236" y="830"/>
                      <a:pt x="1245" y="856"/>
                    </a:cubicBezTo>
                    <a:cubicBezTo>
                      <a:pt x="1263" y="859"/>
                      <a:pt x="1264" y="846"/>
                      <a:pt x="1271" y="838"/>
                    </a:cubicBezTo>
                    <a:cubicBezTo>
                      <a:pt x="1283" y="844"/>
                      <a:pt x="1292" y="853"/>
                      <a:pt x="1311" y="851"/>
                    </a:cubicBezTo>
                    <a:cubicBezTo>
                      <a:pt x="1306" y="861"/>
                      <a:pt x="1311" y="871"/>
                      <a:pt x="1320" y="872"/>
                    </a:cubicBezTo>
                    <a:cubicBezTo>
                      <a:pt x="1261" y="879"/>
                      <a:pt x="1239" y="921"/>
                      <a:pt x="1203" y="949"/>
                    </a:cubicBezTo>
                    <a:cubicBezTo>
                      <a:pt x="1209" y="945"/>
                      <a:pt x="1206" y="910"/>
                      <a:pt x="1190" y="907"/>
                    </a:cubicBezTo>
                    <a:cubicBezTo>
                      <a:pt x="1176" y="907"/>
                      <a:pt x="1176" y="907"/>
                      <a:pt x="1176" y="907"/>
                    </a:cubicBezTo>
                    <a:cubicBezTo>
                      <a:pt x="1182" y="888"/>
                      <a:pt x="1177" y="862"/>
                      <a:pt x="1162" y="855"/>
                    </a:cubicBezTo>
                    <a:cubicBezTo>
                      <a:pt x="1180" y="852"/>
                      <a:pt x="1210" y="858"/>
                      <a:pt x="1222" y="859"/>
                    </a:cubicBezTo>
                    <a:cubicBezTo>
                      <a:pt x="1219" y="878"/>
                      <a:pt x="1227" y="909"/>
                      <a:pt x="1213" y="919"/>
                    </a:cubicBezTo>
                    <a:cubicBezTo>
                      <a:pt x="1213" y="920"/>
                      <a:pt x="1215" y="921"/>
                      <a:pt x="1215" y="922"/>
                    </a:cubicBezTo>
                    <a:cubicBezTo>
                      <a:pt x="1219" y="929"/>
                      <a:pt x="1225" y="921"/>
                      <a:pt x="1229" y="919"/>
                    </a:cubicBezTo>
                    <a:cubicBezTo>
                      <a:pt x="1235" y="867"/>
                      <a:pt x="1231" y="817"/>
                      <a:pt x="1205" y="790"/>
                    </a:cubicBezTo>
                    <a:cubicBezTo>
                      <a:pt x="1173" y="779"/>
                      <a:pt x="1133" y="780"/>
                      <a:pt x="1101" y="792"/>
                    </a:cubicBezTo>
                    <a:cubicBezTo>
                      <a:pt x="1104" y="809"/>
                      <a:pt x="1100" y="829"/>
                      <a:pt x="1105" y="844"/>
                    </a:cubicBezTo>
                    <a:cubicBezTo>
                      <a:pt x="1092" y="852"/>
                      <a:pt x="1087" y="869"/>
                      <a:pt x="1080" y="883"/>
                    </a:cubicBezTo>
                    <a:cubicBezTo>
                      <a:pt x="1062" y="871"/>
                      <a:pt x="1028" y="881"/>
                      <a:pt x="1031" y="905"/>
                    </a:cubicBezTo>
                    <a:cubicBezTo>
                      <a:pt x="971" y="875"/>
                      <a:pt x="868" y="894"/>
                      <a:pt x="842" y="943"/>
                    </a:cubicBezTo>
                    <a:cubicBezTo>
                      <a:pt x="834" y="943"/>
                      <a:pt x="828" y="941"/>
                      <a:pt x="821" y="940"/>
                    </a:cubicBezTo>
                    <a:cubicBezTo>
                      <a:pt x="825" y="933"/>
                      <a:pt x="820" y="930"/>
                      <a:pt x="817" y="926"/>
                    </a:cubicBezTo>
                    <a:cubicBezTo>
                      <a:pt x="827" y="918"/>
                      <a:pt x="841" y="928"/>
                      <a:pt x="851" y="925"/>
                    </a:cubicBezTo>
                    <a:cubicBezTo>
                      <a:pt x="853" y="917"/>
                      <a:pt x="844" y="921"/>
                      <a:pt x="842" y="917"/>
                    </a:cubicBezTo>
                    <a:cubicBezTo>
                      <a:pt x="839" y="906"/>
                      <a:pt x="839" y="895"/>
                      <a:pt x="837" y="887"/>
                    </a:cubicBezTo>
                    <a:cubicBezTo>
                      <a:pt x="841" y="884"/>
                      <a:pt x="846" y="882"/>
                      <a:pt x="853" y="883"/>
                    </a:cubicBezTo>
                    <a:cubicBezTo>
                      <a:pt x="858" y="889"/>
                      <a:pt x="858" y="894"/>
                      <a:pt x="857" y="902"/>
                    </a:cubicBezTo>
                    <a:cubicBezTo>
                      <a:pt x="854" y="903"/>
                      <a:pt x="846" y="900"/>
                      <a:pt x="845" y="904"/>
                    </a:cubicBezTo>
                    <a:cubicBezTo>
                      <a:pt x="844" y="912"/>
                      <a:pt x="853" y="911"/>
                      <a:pt x="859" y="911"/>
                    </a:cubicBezTo>
                    <a:cubicBezTo>
                      <a:pt x="877" y="898"/>
                      <a:pt x="861" y="862"/>
                      <a:pt x="837" y="878"/>
                    </a:cubicBezTo>
                    <a:cubicBezTo>
                      <a:pt x="837" y="870"/>
                      <a:pt x="835" y="871"/>
                      <a:pt x="837" y="865"/>
                    </a:cubicBezTo>
                    <a:cubicBezTo>
                      <a:pt x="869" y="862"/>
                      <a:pt x="883" y="860"/>
                      <a:pt x="909" y="862"/>
                    </a:cubicBezTo>
                    <a:cubicBezTo>
                      <a:pt x="915" y="863"/>
                      <a:pt x="912" y="856"/>
                      <a:pt x="916" y="857"/>
                    </a:cubicBezTo>
                    <a:cubicBezTo>
                      <a:pt x="958" y="865"/>
                      <a:pt x="957" y="820"/>
                      <a:pt x="966" y="792"/>
                    </a:cubicBezTo>
                    <a:cubicBezTo>
                      <a:pt x="972" y="786"/>
                      <a:pt x="980" y="781"/>
                      <a:pt x="982" y="770"/>
                    </a:cubicBezTo>
                    <a:cubicBezTo>
                      <a:pt x="992" y="763"/>
                      <a:pt x="1000" y="754"/>
                      <a:pt x="1006" y="743"/>
                    </a:cubicBezTo>
                    <a:cubicBezTo>
                      <a:pt x="1020" y="725"/>
                      <a:pt x="1051" y="730"/>
                      <a:pt x="1088" y="727"/>
                    </a:cubicBezTo>
                    <a:cubicBezTo>
                      <a:pt x="1121" y="725"/>
                      <a:pt x="1156" y="716"/>
                      <a:pt x="1184" y="727"/>
                    </a:cubicBezTo>
                    <a:cubicBezTo>
                      <a:pt x="1188" y="749"/>
                      <a:pt x="1201" y="762"/>
                      <a:pt x="1227" y="761"/>
                    </a:cubicBezTo>
                    <a:close/>
                    <a:moveTo>
                      <a:pt x="1004" y="734"/>
                    </a:moveTo>
                    <a:cubicBezTo>
                      <a:pt x="1000" y="741"/>
                      <a:pt x="992" y="745"/>
                      <a:pt x="988" y="752"/>
                    </a:cubicBezTo>
                    <a:cubicBezTo>
                      <a:pt x="986" y="750"/>
                      <a:pt x="985" y="747"/>
                      <a:pt x="979" y="749"/>
                    </a:cubicBezTo>
                    <a:cubicBezTo>
                      <a:pt x="975" y="727"/>
                      <a:pt x="994" y="720"/>
                      <a:pt x="1004" y="734"/>
                    </a:cubicBezTo>
                    <a:close/>
                    <a:moveTo>
                      <a:pt x="1090" y="717"/>
                    </a:moveTo>
                    <a:cubicBezTo>
                      <a:pt x="1086" y="723"/>
                      <a:pt x="1061" y="715"/>
                      <a:pt x="1051" y="721"/>
                    </a:cubicBezTo>
                    <a:cubicBezTo>
                      <a:pt x="1056" y="709"/>
                      <a:pt x="1067" y="702"/>
                      <a:pt x="1070" y="689"/>
                    </a:cubicBezTo>
                    <a:cubicBezTo>
                      <a:pt x="1075" y="689"/>
                      <a:pt x="1075" y="689"/>
                      <a:pt x="1075" y="689"/>
                    </a:cubicBezTo>
                    <a:cubicBezTo>
                      <a:pt x="1072" y="703"/>
                      <a:pt x="1076" y="715"/>
                      <a:pt x="1090" y="717"/>
                    </a:cubicBezTo>
                    <a:close/>
                    <a:moveTo>
                      <a:pt x="1044" y="719"/>
                    </a:moveTo>
                    <a:cubicBezTo>
                      <a:pt x="1038" y="719"/>
                      <a:pt x="1030" y="721"/>
                      <a:pt x="1026" y="718"/>
                    </a:cubicBezTo>
                    <a:cubicBezTo>
                      <a:pt x="1038" y="709"/>
                      <a:pt x="1040" y="684"/>
                      <a:pt x="1061" y="689"/>
                    </a:cubicBezTo>
                    <a:cubicBezTo>
                      <a:pt x="1056" y="700"/>
                      <a:pt x="1046" y="705"/>
                      <a:pt x="1044" y="719"/>
                    </a:cubicBezTo>
                    <a:close/>
                    <a:moveTo>
                      <a:pt x="1427" y="774"/>
                    </a:moveTo>
                    <a:cubicBezTo>
                      <a:pt x="1425" y="781"/>
                      <a:pt x="1416" y="782"/>
                      <a:pt x="1413" y="789"/>
                    </a:cubicBezTo>
                    <a:cubicBezTo>
                      <a:pt x="1412" y="785"/>
                      <a:pt x="1417" y="773"/>
                      <a:pt x="1427" y="774"/>
                    </a:cubicBezTo>
                    <a:close/>
                    <a:moveTo>
                      <a:pt x="1446" y="760"/>
                    </a:moveTo>
                    <a:cubicBezTo>
                      <a:pt x="1444" y="768"/>
                      <a:pt x="1433" y="768"/>
                      <a:pt x="1422" y="767"/>
                    </a:cubicBezTo>
                    <a:cubicBezTo>
                      <a:pt x="1422" y="760"/>
                      <a:pt x="1422" y="760"/>
                      <a:pt x="1422" y="760"/>
                    </a:cubicBezTo>
                    <a:cubicBezTo>
                      <a:pt x="1430" y="762"/>
                      <a:pt x="1438" y="763"/>
                      <a:pt x="1446" y="760"/>
                    </a:cubicBezTo>
                    <a:close/>
                    <a:moveTo>
                      <a:pt x="1428" y="741"/>
                    </a:moveTo>
                    <a:cubicBezTo>
                      <a:pt x="1441" y="743"/>
                      <a:pt x="1454" y="744"/>
                      <a:pt x="1467" y="745"/>
                    </a:cubicBezTo>
                    <a:cubicBezTo>
                      <a:pt x="1465" y="753"/>
                      <a:pt x="1455" y="753"/>
                      <a:pt x="1452" y="760"/>
                    </a:cubicBezTo>
                    <a:cubicBezTo>
                      <a:pt x="1449" y="759"/>
                      <a:pt x="1450" y="755"/>
                      <a:pt x="1450" y="753"/>
                    </a:cubicBezTo>
                    <a:cubicBezTo>
                      <a:pt x="1427" y="753"/>
                      <a:pt x="1427" y="753"/>
                      <a:pt x="1427" y="753"/>
                    </a:cubicBezTo>
                    <a:cubicBezTo>
                      <a:pt x="1424" y="751"/>
                      <a:pt x="1427" y="745"/>
                      <a:pt x="1428" y="741"/>
                    </a:cubicBezTo>
                    <a:close/>
                    <a:moveTo>
                      <a:pt x="1471" y="812"/>
                    </a:moveTo>
                    <a:cubicBezTo>
                      <a:pt x="1448" y="811"/>
                      <a:pt x="1421" y="818"/>
                      <a:pt x="1400" y="816"/>
                    </a:cubicBezTo>
                    <a:cubicBezTo>
                      <a:pt x="1426" y="782"/>
                      <a:pt x="1460" y="750"/>
                      <a:pt x="1513" y="748"/>
                    </a:cubicBezTo>
                    <a:cubicBezTo>
                      <a:pt x="1495" y="766"/>
                      <a:pt x="1484" y="790"/>
                      <a:pt x="1471" y="812"/>
                    </a:cubicBezTo>
                    <a:close/>
                    <a:moveTo>
                      <a:pt x="1426" y="734"/>
                    </a:moveTo>
                    <a:cubicBezTo>
                      <a:pt x="1422" y="716"/>
                      <a:pt x="1426" y="701"/>
                      <a:pt x="1425" y="681"/>
                    </a:cubicBezTo>
                    <a:cubicBezTo>
                      <a:pt x="1424" y="674"/>
                      <a:pt x="1430" y="680"/>
                      <a:pt x="1431" y="682"/>
                    </a:cubicBezTo>
                    <a:cubicBezTo>
                      <a:pt x="1462" y="679"/>
                      <a:pt x="1500" y="681"/>
                      <a:pt x="1528" y="687"/>
                    </a:cubicBezTo>
                    <a:cubicBezTo>
                      <a:pt x="1533" y="698"/>
                      <a:pt x="1532" y="716"/>
                      <a:pt x="1532" y="731"/>
                    </a:cubicBezTo>
                    <a:cubicBezTo>
                      <a:pt x="1508" y="752"/>
                      <a:pt x="1462" y="730"/>
                      <a:pt x="1426" y="734"/>
                    </a:cubicBezTo>
                    <a:close/>
                    <a:moveTo>
                      <a:pt x="1762" y="654"/>
                    </a:moveTo>
                    <a:cubicBezTo>
                      <a:pt x="1753" y="644"/>
                      <a:pt x="1763" y="630"/>
                      <a:pt x="1767" y="622"/>
                    </a:cubicBezTo>
                    <a:cubicBezTo>
                      <a:pt x="1778" y="632"/>
                      <a:pt x="1769" y="646"/>
                      <a:pt x="1762" y="654"/>
                    </a:cubicBezTo>
                    <a:close/>
                    <a:moveTo>
                      <a:pt x="1333" y="603"/>
                    </a:moveTo>
                    <a:cubicBezTo>
                      <a:pt x="1338" y="603"/>
                      <a:pt x="1345" y="604"/>
                      <a:pt x="1347" y="601"/>
                    </a:cubicBezTo>
                    <a:cubicBezTo>
                      <a:pt x="1369" y="590"/>
                      <a:pt x="1378" y="560"/>
                      <a:pt x="1406" y="549"/>
                    </a:cubicBezTo>
                    <a:cubicBezTo>
                      <a:pt x="1431" y="539"/>
                      <a:pt x="1469" y="540"/>
                      <a:pt x="1500" y="539"/>
                    </a:cubicBezTo>
                    <a:cubicBezTo>
                      <a:pt x="1531" y="539"/>
                      <a:pt x="1573" y="537"/>
                      <a:pt x="1590" y="553"/>
                    </a:cubicBezTo>
                    <a:cubicBezTo>
                      <a:pt x="1560" y="568"/>
                      <a:pt x="1550" y="603"/>
                      <a:pt x="1516" y="613"/>
                    </a:cubicBezTo>
                    <a:cubicBezTo>
                      <a:pt x="1521" y="648"/>
                      <a:pt x="1543" y="665"/>
                      <a:pt x="1565" y="683"/>
                    </a:cubicBezTo>
                    <a:cubicBezTo>
                      <a:pt x="1607" y="671"/>
                      <a:pt x="1612" y="624"/>
                      <a:pt x="1646" y="605"/>
                    </a:cubicBezTo>
                    <a:cubicBezTo>
                      <a:pt x="1648" y="599"/>
                      <a:pt x="1643" y="596"/>
                      <a:pt x="1646" y="593"/>
                    </a:cubicBezTo>
                    <a:cubicBezTo>
                      <a:pt x="1655" y="594"/>
                      <a:pt x="1672" y="605"/>
                      <a:pt x="1683" y="606"/>
                    </a:cubicBezTo>
                    <a:cubicBezTo>
                      <a:pt x="1689" y="606"/>
                      <a:pt x="1687" y="602"/>
                      <a:pt x="1694" y="600"/>
                    </a:cubicBezTo>
                    <a:cubicBezTo>
                      <a:pt x="1699" y="599"/>
                      <a:pt x="1718" y="602"/>
                      <a:pt x="1729" y="603"/>
                    </a:cubicBezTo>
                    <a:cubicBezTo>
                      <a:pt x="1745" y="605"/>
                      <a:pt x="1762" y="612"/>
                      <a:pt x="1763" y="617"/>
                    </a:cubicBezTo>
                    <a:cubicBezTo>
                      <a:pt x="1764" y="621"/>
                      <a:pt x="1753" y="626"/>
                      <a:pt x="1750" y="636"/>
                    </a:cubicBezTo>
                    <a:cubicBezTo>
                      <a:pt x="1748" y="639"/>
                      <a:pt x="1749" y="648"/>
                      <a:pt x="1748" y="651"/>
                    </a:cubicBezTo>
                    <a:cubicBezTo>
                      <a:pt x="1743" y="661"/>
                      <a:pt x="1731" y="664"/>
                      <a:pt x="1731" y="676"/>
                    </a:cubicBezTo>
                    <a:cubicBezTo>
                      <a:pt x="1716" y="669"/>
                      <a:pt x="1714" y="687"/>
                      <a:pt x="1705" y="685"/>
                    </a:cubicBezTo>
                    <a:cubicBezTo>
                      <a:pt x="1696" y="685"/>
                      <a:pt x="1696" y="675"/>
                      <a:pt x="1690" y="671"/>
                    </a:cubicBezTo>
                    <a:cubicBezTo>
                      <a:pt x="1660" y="669"/>
                      <a:pt x="1620" y="672"/>
                      <a:pt x="1586" y="675"/>
                    </a:cubicBezTo>
                    <a:cubicBezTo>
                      <a:pt x="1604" y="686"/>
                      <a:pt x="1635" y="677"/>
                      <a:pt x="1660" y="677"/>
                    </a:cubicBezTo>
                    <a:cubicBezTo>
                      <a:pt x="1671" y="678"/>
                      <a:pt x="1689" y="676"/>
                      <a:pt x="1691" y="687"/>
                    </a:cubicBezTo>
                    <a:cubicBezTo>
                      <a:pt x="1662" y="694"/>
                      <a:pt x="1634" y="683"/>
                      <a:pt x="1609" y="685"/>
                    </a:cubicBezTo>
                    <a:cubicBezTo>
                      <a:pt x="1581" y="689"/>
                      <a:pt x="1562" y="710"/>
                      <a:pt x="1541" y="722"/>
                    </a:cubicBezTo>
                    <a:cubicBezTo>
                      <a:pt x="1544" y="672"/>
                      <a:pt x="1520" y="649"/>
                      <a:pt x="1498" y="621"/>
                    </a:cubicBezTo>
                    <a:cubicBezTo>
                      <a:pt x="1480" y="623"/>
                      <a:pt x="1458" y="620"/>
                      <a:pt x="1440" y="622"/>
                    </a:cubicBezTo>
                    <a:cubicBezTo>
                      <a:pt x="1423" y="654"/>
                      <a:pt x="1417" y="691"/>
                      <a:pt x="1416" y="736"/>
                    </a:cubicBezTo>
                    <a:cubicBezTo>
                      <a:pt x="1407" y="739"/>
                      <a:pt x="1403" y="733"/>
                      <a:pt x="1394" y="731"/>
                    </a:cubicBezTo>
                    <a:cubicBezTo>
                      <a:pt x="1400" y="719"/>
                      <a:pt x="1411" y="704"/>
                      <a:pt x="1404" y="687"/>
                    </a:cubicBezTo>
                    <a:cubicBezTo>
                      <a:pt x="1415" y="671"/>
                      <a:pt x="1415" y="646"/>
                      <a:pt x="1419" y="624"/>
                    </a:cubicBezTo>
                    <a:cubicBezTo>
                      <a:pt x="1411" y="613"/>
                      <a:pt x="1392" y="619"/>
                      <a:pt x="1373" y="620"/>
                    </a:cubicBezTo>
                    <a:cubicBezTo>
                      <a:pt x="1353" y="621"/>
                      <a:pt x="1339" y="614"/>
                      <a:pt x="1334" y="632"/>
                    </a:cubicBezTo>
                    <a:cubicBezTo>
                      <a:pt x="1329" y="630"/>
                      <a:pt x="1328" y="625"/>
                      <a:pt x="1323" y="623"/>
                    </a:cubicBezTo>
                    <a:cubicBezTo>
                      <a:pt x="1326" y="615"/>
                      <a:pt x="1328" y="611"/>
                      <a:pt x="1333" y="603"/>
                    </a:cubicBezTo>
                    <a:close/>
                    <a:moveTo>
                      <a:pt x="1323" y="602"/>
                    </a:moveTo>
                    <a:cubicBezTo>
                      <a:pt x="1323" y="609"/>
                      <a:pt x="1314" y="607"/>
                      <a:pt x="1316" y="616"/>
                    </a:cubicBezTo>
                    <a:cubicBezTo>
                      <a:pt x="1281" y="600"/>
                      <a:pt x="1234" y="635"/>
                      <a:pt x="1250" y="667"/>
                    </a:cubicBezTo>
                    <a:cubicBezTo>
                      <a:pt x="1238" y="674"/>
                      <a:pt x="1221" y="676"/>
                      <a:pt x="1211" y="686"/>
                    </a:cubicBezTo>
                    <a:cubicBezTo>
                      <a:pt x="1207" y="678"/>
                      <a:pt x="1200" y="674"/>
                      <a:pt x="1190" y="674"/>
                    </a:cubicBezTo>
                    <a:cubicBezTo>
                      <a:pt x="1210" y="634"/>
                      <a:pt x="1251" y="616"/>
                      <a:pt x="1291" y="595"/>
                    </a:cubicBezTo>
                    <a:cubicBezTo>
                      <a:pt x="1296" y="599"/>
                      <a:pt x="1284" y="600"/>
                      <a:pt x="1286" y="604"/>
                    </a:cubicBezTo>
                    <a:cubicBezTo>
                      <a:pt x="1297" y="606"/>
                      <a:pt x="1307" y="601"/>
                      <a:pt x="1323" y="602"/>
                    </a:cubicBezTo>
                    <a:close/>
                    <a:moveTo>
                      <a:pt x="1195" y="583"/>
                    </a:moveTo>
                    <a:cubicBezTo>
                      <a:pt x="1202" y="556"/>
                      <a:pt x="1189" y="529"/>
                      <a:pt x="1162" y="538"/>
                    </a:cubicBezTo>
                    <a:cubicBezTo>
                      <a:pt x="1163" y="533"/>
                      <a:pt x="1159" y="532"/>
                      <a:pt x="1160" y="526"/>
                    </a:cubicBezTo>
                    <a:cubicBezTo>
                      <a:pt x="1197" y="512"/>
                      <a:pt x="1231" y="538"/>
                      <a:pt x="1239" y="572"/>
                    </a:cubicBezTo>
                    <a:cubicBezTo>
                      <a:pt x="1231" y="572"/>
                      <a:pt x="1227" y="575"/>
                      <a:pt x="1221" y="577"/>
                    </a:cubicBezTo>
                    <a:cubicBezTo>
                      <a:pt x="1225" y="595"/>
                      <a:pt x="1226" y="606"/>
                      <a:pt x="1228" y="623"/>
                    </a:cubicBezTo>
                    <a:cubicBezTo>
                      <a:pt x="1222" y="626"/>
                      <a:pt x="1216" y="627"/>
                      <a:pt x="1215" y="634"/>
                    </a:cubicBezTo>
                    <a:cubicBezTo>
                      <a:pt x="1210" y="629"/>
                      <a:pt x="1223" y="613"/>
                      <a:pt x="1224" y="602"/>
                    </a:cubicBezTo>
                    <a:cubicBezTo>
                      <a:pt x="1217" y="593"/>
                      <a:pt x="1208" y="586"/>
                      <a:pt x="1195" y="583"/>
                    </a:cubicBezTo>
                    <a:close/>
                    <a:moveTo>
                      <a:pt x="1244" y="561"/>
                    </a:moveTo>
                    <a:cubicBezTo>
                      <a:pt x="1280" y="554"/>
                      <a:pt x="1293" y="517"/>
                      <a:pt x="1324" y="511"/>
                    </a:cubicBezTo>
                    <a:cubicBezTo>
                      <a:pt x="1298" y="531"/>
                      <a:pt x="1284" y="562"/>
                      <a:pt x="1246" y="570"/>
                    </a:cubicBezTo>
                    <a:cubicBezTo>
                      <a:pt x="1247" y="565"/>
                      <a:pt x="1243" y="565"/>
                      <a:pt x="1244" y="561"/>
                    </a:cubicBezTo>
                    <a:close/>
                    <a:moveTo>
                      <a:pt x="1235" y="547"/>
                    </a:moveTo>
                    <a:cubicBezTo>
                      <a:pt x="1245" y="539"/>
                      <a:pt x="1254" y="521"/>
                      <a:pt x="1275" y="529"/>
                    </a:cubicBezTo>
                    <a:cubicBezTo>
                      <a:pt x="1272" y="544"/>
                      <a:pt x="1248" y="557"/>
                      <a:pt x="1235" y="547"/>
                    </a:cubicBezTo>
                    <a:close/>
                    <a:moveTo>
                      <a:pt x="1356" y="509"/>
                    </a:moveTo>
                    <a:cubicBezTo>
                      <a:pt x="1315" y="538"/>
                      <a:pt x="1297" y="587"/>
                      <a:pt x="1234" y="595"/>
                    </a:cubicBezTo>
                    <a:cubicBezTo>
                      <a:pt x="1234" y="589"/>
                      <a:pt x="1229" y="589"/>
                      <a:pt x="1230" y="583"/>
                    </a:cubicBezTo>
                    <a:cubicBezTo>
                      <a:pt x="1290" y="575"/>
                      <a:pt x="1310" y="529"/>
                      <a:pt x="1349" y="500"/>
                    </a:cubicBezTo>
                    <a:cubicBezTo>
                      <a:pt x="1354" y="501"/>
                      <a:pt x="1356" y="503"/>
                      <a:pt x="1356" y="509"/>
                    </a:cubicBezTo>
                    <a:close/>
                    <a:moveTo>
                      <a:pt x="1343" y="492"/>
                    </a:moveTo>
                    <a:cubicBezTo>
                      <a:pt x="1340" y="497"/>
                      <a:pt x="1338" y="503"/>
                      <a:pt x="1331" y="504"/>
                    </a:cubicBezTo>
                    <a:cubicBezTo>
                      <a:pt x="1331" y="499"/>
                      <a:pt x="1324" y="501"/>
                      <a:pt x="1322" y="497"/>
                    </a:cubicBezTo>
                    <a:cubicBezTo>
                      <a:pt x="1322" y="487"/>
                      <a:pt x="1322" y="487"/>
                      <a:pt x="1322" y="487"/>
                    </a:cubicBezTo>
                    <a:cubicBezTo>
                      <a:pt x="1327" y="485"/>
                      <a:pt x="1325" y="490"/>
                      <a:pt x="1329" y="490"/>
                    </a:cubicBezTo>
                    <a:cubicBezTo>
                      <a:pt x="1329" y="486"/>
                      <a:pt x="1328" y="482"/>
                      <a:pt x="1330" y="480"/>
                    </a:cubicBezTo>
                    <a:cubicBezTo>
                      <a:pt x="1338" y="479"/>
                      <a:pt x="1338" y="479"/>
                      <a:pt x="1338" y="479"/>
                    </a:cubicBezTo>
                    <a:cubicBezTo>
                      <a:pt x="1337" y="486"/>
                      <a:pt x="1339" y="490"/>
                      <a:pt x="1343" y="492"/>
                    </a:cubicBezTo>
                    <a:close/>
                    <a:moveTo>
                      <a:pt x="1193" y="483"/>
                    </a:moveTo>
                    <a:cubicBezTo>
                      <a:pt x="1202" y="475"/>
                      <a:pt x="1210" y="465"/>
                      <a:pt x="1219" y="456"/>
                    </a:cubicBezTo>
                    <a:cubicBezTo>
                      <a:pt x="1251" y="461"/>
                      <a:pt x="1302" y="451"/>
                      <a:pt x="1332" y="471"/>
                    </a:cubicBezTo>
                    <a:cubicBezTo>
                      <a:pt x="1311" y="485"/>
                      <a:pt x="1286" y="495"/>
                      <a:pt x="1277" y="520"/>
                    </a:cubicBezTo>
                    <a:cubicBezTo>
                      <a:pt x="1256" y="514"/>
                      <a:pt x="1243" y="527"/>
                      <a:pt x="1231" y="535"/>
                    </a:cubicBezTo>
                    <a:cubicBezTo>
                      <a:pt x="1219" y="517"/>
                      <a:pt x="1181" y="510"/>
                      <a:pt x="1156" y="517"/>
                    </a:cubicBezTo>
                    <a:cubicBezTo>
                      <a:pt x="1160" y="501"/>
                      <a:pt x="1180" y="493"/>
                      <a:pt x="1193" y="483"/>
                    </a:cubicBezTo>
                    <a:close/>
                    <a:moveTo>
                      <a:pt x="1002" y="588"/>
                    </a:moveTo>
                    <a:cubicBezTo>
                      <a:pt x="998" y="561"/>
                      <a:pt x="1032" y="558"/>
                      <a:pt x="1056" y="553"/>
                    </a:cubicBezTo>
                    <a:cubicBezTo>
                      <a:pt x="1047" y="541"/>
                      <a:pt x="1036" y="527"/>
                      <a:pt x="1041" y="505"/>
                    </a:cubicBezTo>
                    <a:cubicBezTo>
                      <a:pt x="1077" y="451"/>
                      <a:pt x="1165" y="476"/>
                      <a:pt x="1155" y="551"/>
                    </a:cubicBezTo>
                    <a:cubicBezTo>
                      <a:pt x="1181" y="529"/>
                      <a:pt x="1200" y="561"/>
                      <a:pt x="1186" y="587"/>
                    </a:cubicBezTo>
                    <a:cubicBezTo>
                      <a:pt x="1196" y="592"/>
                      <a:pt x="1209" y="593"/>
                      <a:pt x="1215" y="602"/>
                    </a:cubicBezTo>
                    <a:cubicBezTo>
                      <a:pt x="1216" y="615"/>
                      <a:pt x="1210" y="621"/>
                      <a:pt x="1207" y="629"/>
                    </a:cubicBezTo>
                    <a:cubicBezTo>
                      <a:pt x="1202" y="634"/>
                      <a:pt x="1205" y="626"/>
                      <a:pt x="1199" y="627"/>
                    </a:cubicBezTo>
                    <a:cubicBezTo>
                      <a:pt x="1198" y="634"/>
                      <a:pt x="1194" y="640"/>
                      <a:pt x="1198" y="647"/>
                    </a:cubicBezTo>
                    <a:cubicBezTo>
                      <a:pt x="1175" y="660"/>
                      <a:pt x="1178" y="688"/>
                      <a:pt x="1173" y="716"/>
                    </a:cubicBezTo>
                    <a:cubicBezTo>
                      <a:pt x="1149" y="711"/>
                      <a:pt x="1116" y="715"/>
                      <a:pt x="1092" y="718"/>
                    </a:cubicBezTo>
                    <a:cubicBezTo>
                      <a:pt x="1087" y="705"/>
                      <a:pt x="1081" y="692"/>
                      <a:pt x="1094" y="676"/>
                    </a:cubicBezTo>
                    <a:cubicBezTo>
                      <a:pt x="1084" y="671"/>
                      <a:pt x="1059" y="692"/>
                      <a:pt x="1045" y="675"/>
                    </a:cubicBezTo>
                    <a:cubicBezTo>
                      <a:pt x="1037" y="663"/>
                      <a:pt x="1043" y="649"/>
                      <a:pt x="1048" y="638"/>
                    </a:cubicBezTo>
                    <a:cubicBezTo>
                      <a:pt x="1036" y="633"/>
                      <a:pt x="1014" y="638"/>
                      <a:pt x="1001" y="630"/>
                    </a:cubicBezTo>
                    <a:cubicBezTo>
                      <a:pt x="994" y="622"/>
                      <a:pt x="984" y="591"/>
                      <a:pt x="1002" y="588"/>
                    </a:cubicBezTo>
                    <a:close/>
                    <a:moveTo>
                      <a:pt x="930" y="580"/>
                    </a:moveTo>
                    <a:cubicBezTo>
                      <a:pt x="943" y="587"/>
                      <a:pt x="971" y="602"/>
                      <a:pt x="985" y="588"/>
                    </a:cubicBezTo>
                    <a:cubicBezTo>
                      <a:pt x="994" y="590"/>
                      <a:pt x="982" y="598"/>
                      <a:pt x="983" y="604"/>
                    </a:cubicBezTo>
                    <a:cubicBezTo>
                      <a:pt x="984" y="634"/>
                      <a:pt x="1004" y="645"/>
                      <a:pt x="1035" y="644"/>
                    </a:cubicBezTo>
                    <a:cubicBezTo>
                      <a:pt x="1031" y="648"/>
                      <a:pt x="1036" y="662"/>
                      <a:pt x="1027" y="663"/>
                    </a:cubicBezTo>
                    <a:cubicBezTo>
                      <a:pt x="1023" y="664"/>
                      <a:pt x="1010" y="665"/>
                      <a:pt x="1004" y="672"/>
                    </a:cubicBezTo>
                    <a:cubicBezTo>
                      <a:pt x="964" y="658"/>
                      <a:pt x="902" y="658"/>
                      <a:pt x="855" y="656"/>
                    </a:cubicBezTo>
                    <a:cubicBezTo>
                      <a:pt x="883" y="634"/>
                      <a:pt x="910" y="611"/>
                      <a:pt x="930" y="580"/>
                    </a:cubicBezTo>
                    <a:close/>
                    <a:moveTo>
                      <a:pt x="693" y="513"/>
                    </a:moveTo>
                    <a:cubicBezTo>
                      <a:pt x="694" y="523"/>
                      <a:pt x="701" y="527"/>
                      <a:pt x="713" y="525"/>
                    </a:cubicBezTo>
                    <a:cubicBezTo>
                      <a:pt x="712" y="516"/>
                      <a:pt x="701" y="520"/>
                      <a:pt x="698" y="513"/>
                    </a:cubicBezTo>
                    <a:cubicBezTo>
                      <a:pt x="730" y="515"/>
                      <a:pt x="783" y="508"/>
                      <a:pt x="822" y="516"/>
                    </a:cubicBezTo>
                    <a:cubicBezTo>
                      <a:pt x="827" y="516"/>
                      <a:pt x="826" y="511"/>
                      <a:pt x="829" y="508"/>
                    </a:cubicBezTo>
                    <a:cubicBezTo>
                      <a:pt x="846" y="509"/>
                      <a:pt x="859" y="515"/>
                      <a:pt x="875" y="516"/>
                    </a:cubicBezTo>
                    <a:cubicBezTo>
                      <a:pt x="849" y="547"/>
                      <a:pt x="824" y="579"/>
                      <a:pt x="781" y="594"/>
                    </a:cubicBezTo>
                    <a:cubicBezTo>
                      <a:pt x="789" y="626"/>
                      <a:pt x="814" y="640"/>
                      <a:pt x="829" y="664"/>
                    </a:cubicBezTo>
                    <a:cubicBezTo>
                      <a:pt x="882" y="663"/>
                      <a:pt x="940" y="668"/>
                      <a:pt x="992" y="676"/>
                    </a:cubicBezTo>
                    <a:cubicBezTo>
                      <a:pt x="995" y="685"/>
                      <a:pt x="1001" y="690"/>
                      <a:pt x="1005" y="697"/>
                    </a:cubicBezTo>
                    <a:cubicBezTo>
                      <a:pt x="1007" y="706"/>
                      <a:pt x="1000" y="724"/>
                      <a:pt x="1012" y="722"/>
                    </a:cubicBezTo>
                    <a:cubicBezTo>
                      <a:pt x="1020" y="700"/>
                      <a:pt x="999" y="681"/>
                      <a:pt x="1020" y="672"/>
                    </a:cubicBezTo>
                    <a:cubicBezTo>
                      <a:pt x="1024" y="699"/>
                      <a:pt x="1028" y="718"/>
                      <a:pt x="1011" y="731"/>
                    </a:cubicBezTo>
                    <a:cubicBezTo>
                      <a:pt x="997" y="712"/>
                      <a:pt x="963" y="718"/>
                      <a:pt x="971" y="751"/>
                    </a:cubicBezTo>
                    <a:cubicBezTo>
                      <a:pt x="967" y="754"/>
                      <a:pt x="960" y="753"/>
                      <a:pt x="956" y="755"/>
                    </a:cubicBezTo>
                    <a:cubicBezTo>
                      <a:pt x="956" y="740"/>
                      <a:pt x="959" y="726"/>
                      <a:pt x="956" y="714"/>
                    </a:cubicBezTo>
                    <a:cubicBezTo>
                      <a:pt x="944" y="673"/>
                      <a:pt x="869" y="659"/>
                      <a:pt x="851" y="702"/>
                    </a:cubicBezTo>
                    <a:cubicBezTo>
                      <a:pt x="840" y="701"/>
                      <a:pt x="827" y="701"/>
                      <a:pt x="816" y="700"/>
                    </a:cubicBezTo>
                    <a:cubicBezTo>
                      <a:pt x="813" y="686"/>
                      <a:pt x="820" y="659"/>
                      <a:pt x="802" y="658"/>
                    </a:cubicBezTo>
                    <a:cubicBezTo>
                      <a:pt x="794" y="630"/>
                      <a:pt x="777" y="611"/>
                      <a:pt x="757" y="597"/>
                    </a:cubicBezTo>
                    <a:cubicBezTo>
                      <a:pt x="734" y="608"/>
                      <a:pt x="682" y="580"/>
                      <a:pt x="681" y="625"/>
                    </a:cubicBezTo>
                    <a:cubicBezTo>
                      <a:pt x="675" y="624"/>
                      <a:pt x="674" y="628"/>
                      <a:pt x="667" y="627"/>
                    </a:cubicBezTo>
                    <a:cubicBezTo>
                      <a:pt x="665" y="621"/>
                      <a:pt x="673" y="624"/>
                      <a:pt x="674" y="622"/>
                    </a:cubicBezTo>
                    <a:cubicBezTo>
                      <a:pt x="670" y="589"/>
                      <a:pt x="618" y="598"/>
                      <a:pt x="587" y="600"/>
                    </a:cubicBezTo>
                    <a:cubicBezTo>
                      <a:pt x="580" y="606"/>
                      <a:pt x="579" y="619"/>
                      <a:pt x="580" y="627"/>
                    </a:cubicBezTo>
                    <a:cubicBezTo>
                      <a:pt x="557" y="628"/>
                      <a:pt x="557" y="628"/>
                      <a:pt x="557" y="628"/>
                    </a:cubicBezTo>
                    <a:cubicBezTo>
                      <a:pt x="558" y="624"/>
                      <a:pt x="567" y="627"/>
                      <a:pt x="568" y="624"/>
                    </a:cubicBezTo>
                    <a:cubicBezTo>
                      <a:pt x="568" y="606"/>
                      <a:pt x="559" y="598"/>
                      <a:pt x="543" y="598"/>
                    </a:cubicBezTo>
                    <a:cubicBezTo>
                      <a:pt x="538" y="596"/>
                      <a:pt x="546" y="591"/>
                      <a:pt x="541" y="589"/>
                    </a:cubicBezTo>
                    <a:cubicBezTo>
                      <a:pt x="529" y="595"/>
                      <a:pt x="511" y="607"/>
                      <a:pt x="524" y="621"/>
                    </a:cubicBezTo>
                    <a:cubicBezTo>
                      <a:pt x="522" y="626"/>
                      <a:pt x="515" y="626"/>
                      <a:pt x="510" y="627"/>
                    </a:cubicBezTo>
                    <a:cubicBezTo>
                      <a:pt x="508" y="620"/>
                      <a:pt x="508" y="618"/>
                      <a:pt x="513" y="615"/>
                    </a:cubicBezTo>
                    <a:cubicBezTo>
                      <a:pt x="510" y="611"/>
                      <a:pt x="512" y="602"/>
                      <a:pt x="511" y="595"/>
                    </a:cubicBezTo>
                    <a:cubicBezTo>
                      <a:pt x="537" y="533"/>
                      <a:pt x="607" y="509"/>
                      <a:pt x="693" y="513"/>
                    </a:cubicBezTo>
                    <a:close/>
                    <a:moveTo>
                      <a:pt x="573" y="449"/>
                    </a:moveTo>
                    <a:cubicBezTo>
                      <a:pt x="576" y="456"/>
                      <a:pt x="584" y="458"/>
                      <a:pt x="591" y="461"/>
                    </a:cubicBezTo>
                    <a:cubicBezTo>
                      <a:pt x="577" y="480"/>
                      <a:pt x="590" y="505"/>
                      <a:pt x="611" y="508"/>
                    </a:cubicBezTo>
                    <a:cubicBezTo>
                      <a:pt x="600" y="514"/>
                      <a:pt x="586" y="517"/>
                      <a:pt x="575" y="523"/>
                    </a:cubicBezTo>
                    <a:cubicBezTo>
                      <a:pt x="553" y="503"/>
                      <a:pt x="494" y="519"/>
                      <a:pt x="472" y="506"/>
                    </a:cubicBezTo>
                    <a:cubicBezTo>
                      <a:pt x="486" y="483"/>
                      <a:pt x="511" y="472"/>
                      <a:pt x="525" y="450"/>
                    </a:cubicBezTo>
                    <a:cubicBezTo>
                      <a:pt x="535" y="454"/>
                      <a:pt x="556" y="447"/>
                      <a:pt x="562" y="454"/>
                    </a:cubicBezTo>
                    <a:cubicBezTo>
                      <a:pt x="569" y="455"/>
                      <a:pt x="567" y="448"/>
                      <a:pt x="573" y="449"/>
                    </a:cubicBezTo>
                    <a:close/>
                    <a:moveTo>
                      <a:pt x="509" y="424"/>
                    </a:moveTo>
                    <a:cubicBezTo>
                      <a:pt x="514" y="419"/>
                      <a:pt x="525" y="432"/>
                      <a:pt x="521" y="437"/>
                    </a:cubicBezTo>
                    <a:cubicBezTo>
                      <a:pt x="516" y="434"/>
                      <a:pt x="513" y="428"/>
                      <a:pt x="509" y="424"/>
                    </a:cubicBezTo>
                    <a:close/>
                    <a:moveTo>
                      <a:pt x="565" y="414"/>
                    </a:moveTo>
                    <a:cubicBezTo>
                      <a:pt x="558" y="409"/>
                      <a:pt x="548" y="411"/>
                      <a:pt x="540" y="414"/>
                    </a:cubicBezTo>
                    <a:cubicBezTo>
                      <a:pt x="544" y="423"/>
                      <a:pt x="550" y="420"/>
                      <a:pt x="560" y="419"/>
                    </a:cubicBezTo>
                    <a:cubicBezTo>
                      <a:pt x="560" y="427"/>
                      <a:pt x="564" y="437"/>
                      <a:pt x="568" y="447"/>
                    </a:cubicBezTo>
                    <a:cubicBezTo>
                      <a:pt x="561" y="444"/>
                      <a:pt x="553" y="443"/>
                      <a:pt x="543" y="444"/>
                    </a:cubicBezTo>
                    <a:cubicBezTo>
                      <a:pt x="539" y="422"/>
                      <a:pt x="530" y="406"/>
                      <a:pt x="507" y="404"/>
                    </a:cubicBezTo>
                    <a:cubicBezTo>
                      <a:pt x="506" y="372"/>
                      <a:pt x="506" y="372"/>
                      <a:pt x="506" y="372"/>
                    </a:cubicBezTo>
                    <a:cubicBezTo>
                      <a:pt x="524" y="375"/>
                      <a:pt x="547" y="373"/>
                      <a:pt x="568" y="373"/>
                    </a:cubicBezTo>
                    <a:cubicBezTo>
                      <a:pt x="571" y="379"/>
                      <a:pt x="575" y="386"/>
                      <a:pt x="577" y="397"/>
                    </a:cubicBezTo>
                    <a:cubicBezTo>
                      <a:pt x="576" y="405"/>
                      <a:pt x="566" y="405"/>
                      <a:pt x="565" y="414"/>
                    </a:cubicBezTo>
                    <a:close/>
                    <a:moveTo>
                      <a:pt x="689" y="326"/>
                    </a:moveTo>
                    <a:cubicBezTo>
                      <a:pt x="696" y="327"/>
                      <a:pt x="698" y="333"/>
                      <a:pt x="701" y="338"/>
                    </a:cubicBezTo>
                    <a:cubicBezTo>
                      <a:pt x="699" y="340"/>
                      <a:pt x="690" y="332"/>
                      <a:pt x="689" y="326"/>
                    </a:cubicBezTo>
                    <a:close/>
                    <a:moveTo>
                      <a:pt x="706" y="371"/>
                    </a:moveTo>
                    <a:cubicBezTo>
                      <a:pt x="705" y="349"/>
                      <a:pt x="705" y="349"/>
                      <a:pt x="705" y="349"/>
                    </a:cubicBezTo>
                    <a:cubicBezTo>
                      <a:pt x="711" y="353"/>
                      <a:pt x="713" y="361"/>
                      <a:pt x="718" y="368"/>
                    </a:cubicBezTo>
                    <a:cubicBezTo>
                      <a:pt x="711" y="367"/>
                      <a:pt x="711" y="372"/>
                      <a:pt x="706" y="371"/>
                    </a:cubicBezTo>
                    <a:close/>
                    <a:moveTo>
                      <a:pt x="780" y="474"/>
                    </a:moveTo>
                    <a:cubicBezTo>
                      <a:pt x="783" y="455"/>
                      <a:pt x="791" y="418"/>
                      <a:pt x="763" y="414"/>
                    </a:cubicBezTo>
                    <a:cubicBezTo>
                      <a:pt x="784" y="405"/>
                      <a:pt x="804" y="427"/>
                      <a:pt x="806" y="449"/>
                    </a:cubicBezTo>
                    <a:cubicBezTo>
                      <a:pt x="798" y="458"/>
                      <a:pt x="786" y="463"/>
                      <a:pt x="780" y="474"/>
                    </a:cubicBezTo>
                    <a:close/>
                    <a:moveTo>
                      <a:pt x="870" y="435"/>
                    </a:moveTo>
                    <a:cubicBezTo>
                      <a:pt x="856" y="443"/>
                      <a:pt x="827" y="442"/>
                      <a:pt x="832" y="418"/>
                    </a:cubicBezTo>
                    <a:cubicBezTo>
                      <a:pt x="845" y="410"/>
                      <a:pt x="862" y="422"/>
                      <a:pt x="869" y="409"/>
                    </a:cubicBezTo>
                    <a:cubicBezTo>
                      <a:pt x="875" y="412"/>
                      <a:pt x="870" y="427"/>
                      <a:pt x="870" y="435"/>
                    </a:cubicBezTo>
                    <a:close/>
                    <a:moveTo>
                      <a:pt x="938" y="393"/>
                    </a:moveTo>
                    <a:cubicBezTo>
                      <a:pt x="944" y="388"/>
                      <a:pt x="940" y="380"/>
                      <a:pt x="939" y="372"/>
                    </a:cubicBezTo>
                    <a:cubicBezTo>
                      <a:pt x="959" y="393"/>
                      <a:pt x="920" y="398"/>
                      <a:pt x="912" y="409"/>
                    </a:cubicBezTo>
                    <a:cubicBezTo>
                      <a:pt x="913" y="401"/>
                      <a:pt x="924" y="387"/>
                      <a:pt x="934" y="381"/>
                    </a:cubicBezTo>
                    <a:cubicBezTo>
                      <a:pt x="932" y="388"/>
                      <a:pt x="940" y="385"/>
                      <a:pt x="938" y="393"/>
                    </a:cubicBezTo>
                    <a:close/>
                    <a:moveTo>
                      <a:pt x="928" y="370"/>
                    </a:moveTo>
                    <a:cubicBezTo>
                      <a:pt x="924" y="364"/>
                      <a:pt x="920" y="352"/>
                      <a:pt x="928" y="347"/>
                    </a:cubicBezTo>
                    <a:cubicBezTo>
                      <a:pt x="935" y="348"/>
                      <a:pt x="932" y="368"/>
                      <a:pt x="928" y="370"/>
                    </a:cubicBezTo>
                    <a:close/>
                    <a:moveTo>
                      <a:pt x="803" y="318"/>
                    </a:moveTo>
                    <a:cubicBezTo>
                      <a:pt x="802" y="313"/>
                      <a:pt x="806" y="313"/>
                      <a:pt x="805" y="309"/>
                    </a:cubicBezTo>
                    <a:cubicBezTo>
                      <a:pt x="839" y="325"/>
                      <a:pt x="866" y="319"/>
                      <a:pt x="915" y="319"/>
                    </a:cubicBezTo>
                    <a:cubicBezTo>
                      <a:pt x="919" y="325"/>
                      <a:pt x="924" y="331"/>
                      <a:pt x="928" y="336"/>
                    </a:cubicBezTo>
                    <a:cubicBezTo>
                      <a:pt x="912" y="357"/>
                      <a:pt x="892" y="373"/>
                      <a:pt x="881" y="398"/>
                    </a:cubicBezTo>
                    <a:cubicBezTo>
                      <a:pt x="864" y="395"/>
                      <a:pt x="855" y="413"/>
                      <a:pt x="828" y="408"/>
                    </a:cubicBezTo>
                    <a:cubicBezTo>
                      <a:pt x="820" y="410"/>
                      <a:pt x="819" y="438"/>
                      <a:pt x="831" y="439"/>
                    </a:cubicBezTo>
                    <a:cubicBezTo>
                      <a:pt x="827" y="444"/>
                      <a:pt x="819" y="441"/>
                      <a:pt x="813" y="447"/>
                    </a:cubicBezTo>
                    <a:cubicBezTo>
                      <a:pt x="811" y="420"/>
                      <a:pt x="787" y="397"/>
                      <a:pt x="761" y="407"/>
                    </a:cubicBezTo>
                    <a:cubicBezTo>
                      <a:pt x="759" y="391"/>
                      <a:pt x="753" y="379"/>
                      <a:pt x="743" y="371"/>
                    </a:cubicBezTo>
                    <a:cubicBezTo>
                      <a:pt x="770" y="359"/>
                      <a:pt x="781" y="333"/>
                      <a:pt x="803" y="318"/>
                    </a:cubicBezTo>
                    <a:close/>
                    <a:moveTo>
                      <a:pt x="565" y="244"/>
                    </a:moveTo>
                    <a:cubicBezTo>
                      <a:pt x="599" y="234"/>
                      <a:pt x="653" y="235"/>
                      <a:pt x="692" y="246"/>
                    </a:cubicBezTo>
                    <a:cubicBezTo>
                      <a:pt x="715" y="242"/>
                      <a:pt x="738" y="242"/>
                      <a:pt x="758" y="247"/>
                    </a:cubicBezTo>
                    <a:cubicBezTo>
                      <a:pt x="735" y="265"/>
                      <a:pt x="718" y="289"/>
                      <a:pt x="699" y="310"/>
                    </a:cubicBezTo>
                    <a:cubicBezTo>
                      <a:pt x="689" y="311"/>
                      <a:pt x="686" y="318"/>
                      <a:pt x="682" y="324"/>
                    </a:cubicBezTo>
                    <a:cubicBezTo>
                      <a:pt x="661" y="314"/>
                      <a:pt x="629" y="306"/>
                      <a:pt x="605" y="315"/>
                    </a:cubicBezTo>
                    <a:cubicBezTo>
                      <a:pt x="599" y="317"/>
                      <a:pt x="603" y="308"/>
                      <a:pt x="596" y="310"/>
                    </a:cubicBezTo>
                    <a:cubicBezTo>
                      <a:pt x="591" y="311"/>
                      <a:pt x="590" y="314"/>
                      <a:pt x="588" y="318"/>
                    </a:cubicBezTo>
                    <a:cubicBezTo>
                      <a:pt x="605" y="338"/>
                      <a:pt x="583" y="367"/>
                      <a:pt x="602" y="388"/>
                    </a:cubicBezTo>
                    <a:cubicBezTo>
                      <a:pt x="597" y="391"/>
                      <a:pt x="589" y="391"/>
                      <a:pt x="586" y="395"/>
                    </a:cubicBezTo>
                    <a:cubicBezTo>
                      <a:pt x="580" y="374"/>
                      <a:pt x="583" y="340"/>
                      <a:pt x="580" y="312"/>
                    </a:cubicBezTo>
                    <a:cubicBezTo>
                      <a:pt x="555" y="305"/>
                      <a:pt x="531" y="308"/>
                      <a:pt x="504" y="312"/>
                    </a:cubicBezTo>
                    <a:cubicBezTo>
                      <a:pt x="505" y="346"/>
                      <a:pt x="499" y="374"/>
                      <a:pt x="498" y="401"/>
                    </a:cubicBezTo>
                    <a:cubicBezTo>
                      <a:pt x="482" y="387"/>
                      <a:pt x="454" y="389"/>
                      <a:pt x="428" y="390"/>
                    </a:cubicBezTo>
                    <a:cubicBezTo>
                      <a:pt x="427" y="365"/>
                      <a:pt x="431" y="321"/>
                      <a:pt x="442" y="301"/>
                    </a:cubicBezTo>
                    <a:cubicBezTo>
                      <a:pt x="449" y="290"/>
                      <a:pt x="469" y="282"/>
                      <a:pt x="482" y="272"/>
                    </a:cubicBezTo>
                    <a:cubicBezTo>
                      <a:pt x="505" y="255"/>
                      <a:pt x="527" y="225"/>
                      <a:pt x="565" y="244"/>
                    </a:cubicBezTo>
                    <a:close/>
                    <a:moveTo>
                      <a:pt x="496" y="240"/>
                    </a:moveTo>
                    <a:cubicBezTo>
                      <a:pt x="496" y="241"/>
                      <a:pt x="499" y="244"/>
                      <a:pt x="499" y="243"/>
                    </a:cubicBezTo>
                    <a:cubicBezTo>
                      <a:pt x="487" y="265"/>
                      <a:pt x="462" y="269"/>
                      <a:pt x="444" y="289"/>
                    </a:cubicBezTo>
                    <a:cubicBezTo>
                      <a:pt x="441" y="279"/>
                      <a:pt x="441" y="267"/>
                      <a:pt x="434" y="261"/>
                    </a:cubicBezTo>
                    <a:cubicBezTo>
                      <a:pt x="480" y="266"/>
                      <a:pt x="485" y="218"/>
                      <a:pt x="518" y="206"/>
                    </a:cubicBezTo>
                    <a:cubicBezTo>
                      <a:pt x="524" y="221"/>
                      <a:pt x="495" y="230"/>
                      <a:pt x="496" y="240"/>
                    </a:cubicBezTo>
                    <a:close/>
                    <a:moveTo>
                      <a:pt x="464" y="244"/>
                    </a:moveTo>
                    <a:cubicBezTo>
                      <a:pt x="456" y="251"/>
                      <a:pt x="442" y="252"/>
                      <a:pt x="429" y="254"/>
                    </a:cubicBezTo>
                    <a:cubicBezTo>
                      <a:pt x="428" y="248"/>
                      <a:pt x="425" y="246"/>
                      <a:pt x="425" y="240"/>
                    </a:cubicBezTo>
                    <a:cubicBezTo>
                      <a:pt x="439" y="238"/>
                      <a:pt x="444" y="225"/>
                      <a:pt x="460" y="230"/>
                    </a:cubicBezTo>
                    <a:cubicBezTo>
                      <a:pt x="454" y="238"/>
                      <a:pt x="460" y="240"/>
                      <a:pt x="464" y="244"/>
                    </a:cubicBezTo>
                    <a:close/>
                    <a:moveTo>
                      <a:pt x="501" y="178"/>
                    </a:moveTo>
                    <a:cubicBezTo>
                      <a:pt x="509" y="179"/>
                      <a:pt x="509" y="187"/>
                      <a:pt x="514" y="190"/>
                    </a:cubicBezTo>
                    <a:cubicBezTo>
                      <a:pt x="511" y="194"/>
                      <a:pt x="507" y="203"/>
                      <a:pt x="502" y="199"/>
                    </a:cubicBezTo>
                    <a:cubicBezTo>
                      <a:pt x="504" y="188"/>
                      <a:pt x="495" y="185"/>
                      <a:pt x="501" y="178"/>
                    </a:cubicBezTo>
                    <a:close/>
                    <a:moveTo>
                      <a:pt x="402" y="154"/>
                    </a:moveTo>
                    <a:cubicBezTo>
                      <a:pt x="428" y="171"/>
                      <a:pt x="471" y="155"/>
                      <a:pt x="498" y="171"/>
                    </a:cubicBezTo>
                    <a:cubicBezTo>
                      <a:pt x="495" y="175"/>
                      <a:pt x="483" y="185"/>
                      <a:pt x="493" y="191"/>
                    </a:cubicBezTo>
                    <a:cubicBezTo>
                      <a:pt x="482" y="199"/>
                      <a:pt x="467" y="203"/>
                      <a:pt x="465" y="219"/>
                    </a:cubicBezTo>
                    <a:cubicBezTo>
                      <a:pt x="460" y="220"/>
                      <a:pt x="462" y="212"/>
                      <a:pt x="458" y="211"/>
                    </a:cubicBezTo>
                    <a:cubicBezTo>
                      <a:pt x="445" y="220"/>
                      <a:pt x="432" y="230"/>
                      <a:pt x="414" y="235"/>
                    </a:cubicBezTo>
                    <a:cubicBezTo>
                      <a:pt x="414" y="244"/>
                      <a:pt x="419" y="247"/>
                      <a:pt x="420" y="254"/>
                    </a:cubicBezTo>
                    <a:cubicBezTo>
                      <a:pt x="407" y="247"/>
                      <a:pt x="411" y="222"/>
                      <a:pt x="398" y="216"/>
                    </a:cubicBezTo>
                    <a:cubicBezTo>
                      <a:pt x="394" y="197"/>
                      <a:pt x="381" y="189"/>
                      <a:pt x="365" y="183"/>
                    </a:cubicBezTo>
                    <a:cubicBezTo>
                      <a:pt x="373" y="168"/>
                      <a:pt x="395" y="168"/>
                      <a:pt x="402" y="154"/>
                    </a:cubicBezTo>
                    <a:close/>
                    <a:moveTo>
                      <a:pt x="353" y="190"/>
                    </a:moveTo>
                    <a:cubicBezTo>
                      <a:pt x="391" y="191"/>
                      <a:pt x="401" y="221"/>
                      <a:pt x="404" y="258"/>
                    </a:cubicBezTo>
                    <a:cubicBezTo>
                      <a:pt x="444" y="253"/>
                      <a:pt x="438" y="306"/>
                      <a:pt x="420" y="321"/>
                    </a:cubicBezTo>
                    <a:cubicBezTo>
                      <a:pt x="435" y="338"/>
                      <a:pt x="399" y="376"/>
                      <a:pt x="425" y="392"/>
                    </a:cubicBezTo>
                    <a:cubicBezTo>
                      <a:pt x="403" y="397"/>
                      <a:pt x="357" y="389"/>
                      <a:pt x="328" y="396"/>
                    </a:cubicBezTo>
                    <a:cubicBezTo>
                      <a:pt x="325" y="388"/>
                      <a:pt x="338" y="396"/>
                      <a:pt x="335" y="389"/>
                    </a:cubicBezTo>
                    <a:cubicBezTo>
                      <a:pt x="329" y="385"/>
                      <a:pt x="319" y="386"/>
                      <a:pt x="311" y="380"/>
                    </a:cubicBezTo>
                    <a:cubicBezTo>
                      <a:pt x="312" y="370"/>
                      <a:pt x="322" y="369"/>
                      <a:pt x="322" y="359"/>
                    </a:cubicBezTo>
                    <a:cubicBezTo>
                      <a:pt x="314" y="350"/>
                      <a:pt x="304" y="361"/>
                      <a:pt x="293" y="363"/>
                    </a:cubicBezTo>
                    <a:cubicBezTo>
                      <a:pt x="270" y="367"/>
                      <a:pt x="245" y="359"/>
                      <a:pt x="247" y="339"/>
                    </a:cubicBezTo>
                    <a:cubicBezTo>
                      <a:pt x="248" y="328"/>
                      <a:pt x="262" y="328"/>
                      <a:pt x="266" y="316"/>
                    </a:cubicBezTo>
                    <a:cubicBezTo>
                      <a:pt x="261" y="307"/>
                      <a:pt x="238" y="316"/>
                      <a:pt x="227" y="310"/>
                    </a:cubicBezTo>
                    <a:cubicBezTo>
                      <a:pt x="224" y="301"/>
                      <a:pt x="216" y="299"/>
                      <a:pt x="214" y="292"/>
                    </a:cubicBezTo>
                    <a:cubicBezTo>
                      <a:pt x="207" y="263"/>
                      <a:pt x="237" y="243"/>
                      <a:pt x="255" y="233"/>
                    </a:cubicBezTo>
                    <a:cubicBezTo>
                      <a:pt x="242" y="221"/>
                      <a:pt x="217" y="213"/>
                      <a:pt x="217" y="193"/>
                    </a:cubicBezTo>
                    <a:cubicBezTo>
                      <a:pt x="217" y="179"/>
                      <a:pt x="232" y="174"/>
                      <a:pt x="238" y="161"/>
                    </a:cubicBezTo>
                    <a:cubicBezTo>
                      <a:pt x="243" y="159"/>
                      <a:pt x="241" y="166"/>
                      <a:pt x="246" y="164"/>
                    </a:cubicBezTo>
                    <a:cubicBezTo>
                      <a:pt x="251" y="162"/>
                      <a:pt x="249" y="160"/>
                      <a:pt x="248" y="155"/>
                    </a:cubicBezTo>
                    <a:cubicBezTo>
                      <a:pt x="265" y="144"/>
                      <a:pt x="300" y="140"/>
                      <a:pt x="310" y="161"/>
                    </a:cubicBezTo>
                    <a:cubicBezTo>
                      <a:pt x="335" y="158"/>
                      <a:pt x="341" y="183"/>
                      <a:pt x="337" y="199"/>
                    </a:cubicBezTo>
                    <a:cubicBezTo>
                      <a:pt x="343" y="203"/>
                      <a:pt x="348" y="192"/>
                      <a:pt x="353" y="190"/>
                    </a:cubicBezTo>
                    <a:close/>
                    <a:moveTo>
                      <a:pt x="361" y="402"/>
                    </a:moveTo>
                    <a:cubicBezTo>
                      <a:pt x="359" y="405"/>
                      <a:pt x="351" y="408"/>
                      <a:pt x="347" y="404"/>
                    </a:cubicBezTo>
                    <a:cubicBezTo>
                      <a:pt x="350" y="398"/>
                      <a:pt x="356" y="403"/>
                      <a:pt x="361" y="402"/>
                    </a:cubicBezTo>
                    <a:close/>
                    <a:moveTo>
                      <a:pt x="214" y="207"/>
                    </a:moveTo>
                    <a:cubicBezTo>
                      <a:pt x="230" y="219"/>
                      <a:pt x="238" y="239"/>
                      <a:pt x="218" y="252"/>
                    </a:cubicBezTo>
                    <a:cubicBezTo>
                      <a:pt x="215" y="237"/>
                      <a:pt x="217" y="224"/>
                      <a:pt x="214" y="207"/>
                    </a:cubicBezTo>
                    <a:close/>
                    <a:moveTo>
                      <a:pt x="129" y="144"/>
                    </a:moveTo>
                    <a:cubicBezTo>
                      <a:pt x="141" y="135"/>
                      <a:pt x="155" y="121"/>
                      <a:pt x="169" y="115"/>
                    </a:cubicBezTo>
                    <a:cubicBezTo>
                      <a:pt x="194" y="104"/>
                      <a:pt x="224" y="110"/>
                      <a:pt x="254" y="107"/>
                    </a:cubicBezTo>
                    <a:cubicBezTo>
                      <a:pt x="281" y="105"/>
                      <a:pt x="313" y="93"/>
                      <a:pt x="337" y="106"/>
                    </a:cubicBezTo>
                    <a:cubicBezTo>
                      <a:pt x="321" y="114"/>
                      <a:pt x="314" y="130"/>
                      <a:pt x="303" y="142"/>
                    </a:cubicBezTo>
                    <a:cubicBezTo>
                      <a:pt x="276" y="135"/>
                      <a:pt x="250" y="138"/>
                      <a:pt x="227" y="143"/>
                    </a:cubicBezTo>
                    <a:cubicBezTo>
                      <a:pt x="225" y="148"/>
                      <a:pt x="224" y="156"/>
                      <a:pt x="230" y="158"/>
                    </a:cubicBezTo>
                    <a:cubicBezTo>
                      <a:pt x="227" y="169"/>
                      <a:pt x="215" y="173"/>
                      <a:pt x="213" y="186"/>
                    </a:cubicBezTo>
                    <a:cubicBezTo>
                      <a:pt x="205" y="179"/>
                      <a:pt x="223" y="155"/>
                      <a:pt x="211" y="144"/>
                    </a:cubicBezTo>
                    <a:cubicBezTo>
                      <a:pt x="176" y="147"/>
                      <a:pt x="155" y="139"/>
                      <a:pt x="129" y="144"/>
                    </a:cubicBezTo>
                    <a:close/>
                    <a:moveTo>
                      <a:pt x="112" y="240"/>
                    </a:moveTo>
                    <a:cubicBezTo>
                      <a:pt x="111" y="244"/>
                      <a:pt x="115" y="244"/>
                      <a:pt x="114" y="249"/>
                    </a:cubicBezTo>
                    <a:cubicBezTo>
                      <a:pt x="104" y="247"/>
                      <a:pt x="92" y="249"/>
                      <a:pt x="86" y="247"/>
                    </a:cubicBezTo>
                    <a:cubicBezTo>
                      <a:pt x="87" y="238"/>
                      <a:pt x="103" y="237"/>
                      <a:pt x="112" y="240"/>
                    </a:cubicBezTo>
                    <a:close/>
                    <a:moveTo>
                      <a:pt x="73" y="218"/>
                    </a:moveTo>
                    <a:cubicBezTo>
                      <a:pt x="66" y="225"/>
                      <a:pt x="56" y="230"/>
                      <a:pt x="57" y="246"/>
                    </a:cubicBezTo>
                    <a:cubicBezTo>
                      <a:pt x="51" y="248"/>
                      <a:pt x="53" y="235"/>
                      <a:pt x="57" y="236"/>
                    </a:cubicBezTo>
                    <a:cubicBezTo>
                      <a:pt x="56" y="233"/>
                      <a:pt x="55" y="236"/>
                      <a:pt x="52" y="236"/>
                    </a:cubicBezTo>
                    <a:cubicBezTo>
                      <a:pt x="55" y="226"/>
                      <a:pt x="60" y="219"/>
                      <a:pt x="73" y="218"/>
                    </a:cubicBezTo>
                    <a:close/>
                    <a:moveTo>
                      <a:pt x="72" y="333"/>
                    </a:moveTo>
                    <a:cubicBezTo>
                      <a:pt x="62" y="306"/>
                      <a:pt x="37" y="283"/>
                      <a:pt x="4" y="297"/>
                    </a:cubicBezTo>
                    <a:cubicBezTo>
                      <a:pt x="3" y="292"/>
                      <a:pt x="7" y="291"/>
                      <a:pt x="12" y="292"/>
                    </a:cubicBezTo>
                    <a:cubicBezTo>
                      <a:pt x="32" y="237"/>
                      <a:pt x="142" y="256"/>
                      <a:pt x="199" y="263"/>
                    </a:cubicBezTo>
                    <a:cubicBezTo>
                      <a:pt x="183" y="283"/>
                      <a:pt x="167" y="304"/>
                      <a:pt x="147" y="320"/>
                    </a:cubicBezTo>
                    <a:cubicBezTo>
                      <a:pt x="146" y="359"/>
                      <a:pt x="186" y="360"/>
                      <a:pt x="204" y="383"/>
                    </a:cubicBezTo>
                    <a:cubicBezTo>
                      <a:pt x="223" y="378"/>
                      <a:pt x="227" y="358"/>
                      <a:pt x="242" y="348"/>
                    </a:cubicBezTo>
                    <a:cubicBezTo>
                      <a:pt x="243" y="375"/>
                      <a:pt x="280" y="372"/>
                      <a:pt x="306" y="368"/>
                    </a:cubicBezTo>
                    <a:cubicBezTo>
                      <a:pt x="305" y="373"/>
                      <a:pt x="302" y="376"/>
                      <a:pt x="301" y="381"/>
                    </a:cubicBezTo>
                    <a:cubicBezTo>
                      <a:pt x="279" y="376"/>
                      <a:pt x="249" y="374"/>
                      <a:pt x="223" y="381"/>
                    </a:cubicBezTo>
                    <a:cubicBezTo>
                      <a:pt x="239" y="394"/>
                      <a:pt x="288" y="375"/>
                      <a:pt x="306" y="395"/>
                    </a:cubicBezTo>
                    <a:cubicBezTo>
                      <a:pt x="312" y="393"/>
                      <a:pt x="312" y="389"/>
                      <a:pt x="319" y="393"/>
                    </a:cubicBezTo>
                    <a:cubicBezTo>
                      <a:pt x="317" y="397"/>
                      <a:pt x="307" y="394"/>
                      <a:pt x="310" y="403"/>
                    </a:cubicBezTo>
                    <a:cubicBezTo>
                      <a:pt x="303" y="399"/>
                      <a:pt x="286" y="402"/>
                      <a:pt x="277" y="406"/>
                    </a:cubicBezTo>
                    <a:cubicBezTo>
                      <a:pt x="252" y="385"/>
                      <a:pt x="196" y="401"/>
                      <a:pt x="210" y="436"/>
                    </a:cubicBezTo>
                    <a:cubicBezTo>
                      <a:pt x="200" y="437"/>
                      <a:pt x="185" y="436"/>
                      <a:pt x="173" y="440"/>
                    </a:cubicBezTo>
                    <a:cubicBezTo>
                      <a:pt x="180" y="393"/>
                      <a:pt x="161" y="346"/>
                      <a:pt x="130" y="328"/>
                    </a:cubicBezTo>
                    <a:cubicBezTo>
                      <a:pt x="126" y="327"/>
                      <a:pt x="124" y="328"/>
                      <a:pt x="125" y="331"/>
                    </a:cubicBezTo>
                    <a:cubicBezTo>
                      <a:pt x="114" y="321"/>
                      <a:pt x="82" y="320"/>
                      <a:pt x="72" y="333"/>
                    </a:cubicBezTo>
                    <a:close/>
                    <a:moveTo>
                      <a:pt x="249" y="415"/>
                    </a:moveTo>
                    <a:cubicBezTo>
                      <a:pt x="244" y="423"/>
                      <a:pt x="234" y="427"/>
                      <a:pt x="230" y="435"/>
                    </a:cubicBezTo>
                    <a:cubicBezTo>
                      <a:pt x="225" y="425"/>
                      <a:pt x="236" y="415"/>
                      <a:pt x="249" y="415"/>
                    </a:cubicBezTo>
                    <a:close/>
                    <a:moveTo>
                      <a:pt x="95" y="406"/>
                    </a:moveTo>
                    <a:cubicBezTo>
                      <a:pt x="94" y="394"/>
                      <a:pt x="102" y="390"/>
                      <a:pt x="101" y="378"/>
                    </a:cubicBezTo>
                    <a:cubicBezTo>
                      <a:pt x="117" y="382"/>
                      <a:pt x="141" y="379"/>
                      <a:pt x="161" y="382"/>
                    </a:cubicBezTo>
                    <a:cubicBezTo>
                      <a:pt x="157" y="386"/>
                      <a:pt x="157" y="394"/>
                      <a:pt x="165" y="389"/>
                    </a:cubicBezTo>
                    <a:cubicBezTo>
                      <a:pt x="162" y="403"/>
                      <a:pt x="169" y="425"/>
                      <a:pt x="162" y="438"/>
                    </a:cubicBezTo>
                    <a:cubicBezTo>
                      <a:pt x="162" y="442"/>
                      <a:pt x="169" y="439"/>
                      <a:pt x="171" y="440"/>
                    </a:cubicBezTo>
                    <a:cubicBezTo>
                      <a:pt x="162" y="448"/>
                      <a:pt x="144" y="445"/>
                      <a:pt x="131" y="448"/>
                    </a:cubicBezTo>
                    <a:cubicBezTo>
                      <a:pt x="129" y="423"/>
                      <a:pt x="119" y="407"/>
                      <a:pt x="95" y="406"/>
                    </a:cubicBezTo>
                    <a:close/>
                    <a:moveTo>
                      <a:pt x="147" y="455"/>
                    </a:moveTo>
                    <a:cubicBezTo>
                      <a:pt x="140" y="461"/>
                      <a:pt x="130" y="465"/>
                      <a:pt x="124" y="473"/>
                    </a:cubicBezTo>
                    <a:cubicBezTo>
                      <a:pt x="122" y="470"/>
                      <a:pt x="128" y="461"/>
                      <a:pt x="129" y="455"/>
                    </a:cubicBezTo>
                    <a:cubicBezTo>
                      <a:pt x="139" y="455"/>
                      <a:pt x="138" y="456"/>
                      <a:pt x="147" y="455"/>
                    </a:cubicBezTo>
                    <a:close/>
                    <a:moveTo>
                      <a:pt x="212" y="446"/>
                    </a:moveTo>
                    <a:cubicBezTo>
                      <a:pt x="199" y="460"/>
                      <a:pt x="183" y="472"/>
                      <a:pt x="174" y="489"/>
                    </a:cubicBezTo>
                    <a:cubicBezTo>
                      <a:pt x="156" y="498"/>
                      <a:pt x="135" y="485"/>
                      <a:pt x="116" y="491"/>
                    </a:cubicBezTo>
                    <a:cubicBezTo>
                      <a:pt x="138" y="468"/>
                      <a:pt x="172" y="440"/>
                      <a:pt x="212" y="446"/>
                    </a:cubicBezTo>
                    <a:close/>
                    <a:moveTo>
                      <a:pt x="110" y="549"/>
                    </a:moveTo>
                    <a:cubicBezTo>
                      <a:pt x="117" y="536"/>
                      <a:pt x="115" y="517"/>
                      <a:pt x="104" y="509"/>
                    </a:cubicBezTo>
                    <a:cubicBezTo>
                      <a:pt x="108" y="505"/>
                      <a:pt x="114" y="502"/>
                      <a:pt x="118" y="498"/>
                    </a:cubicBezTo>
                    <a:cubicBezTo>
                      <a:pt x="135" y="495"/>
                      <a:pt x="151" y="502"/>
                      <a:pt x="166" y="500"/>
                    </a:cubicBezTo>
                    <a:cubicBezTo>
                      <a:pt x="181" y="498"/>
                      <a:pt x="185" y="488"/>
                      <a:pt x="197" y="482"/>
                    </a:cubicBezTo>
                    <a:cubicBezTo>
                      <a:pt x="202" y="464"/>
                      <a:pt x="214" y="456"/>
                      <a:pt x="231" y="442"/>
                    </a:cubicBezTo>
                    <a:cubicBezTo>
                      <a:pt x="254" y="423"/>
                      <a:pt x="274" y="403"/>
                      <a:pt x="312" y="412"/>
                    </a:cubicBezTo>
                    <a:cubicBezTo>
                      <a:pt x="328" y="392"/>
                      <a:pt x="355" y="419"/>
                      <a:pt x="376" y="402"/>
                    </a:cubicBezTo>
                    <a:cubicBezTo>
                      <a:pt x="389" y="405"/>
                      <a:pt x="398" y="402"/>
                      <a:pt x="411" y="406"/>
                    </a:cubicBezTo>
                    <a:cubicBezTo>
                      <a:pt x="431" y="398"/>
                      <a:pt x="444" y="403"/>
                      <a:pt x="468" y="405"/>
                    </a:cubicBezTo>
                    <a:cubicBezTo>
                      <a:pt x="451" y="434"/>
                      <a:pt x="419" y="448"/>
                      <a:pt x="398" y="474"/>
                    </a:cubicBezTo>
                    <a:cubicBezTo>
                      <a:pt x="399" y="482"/>
                      <a:pt x="403" y="486"/>
                      <a:pt x="408" y="490"/>
                    </a:cubicBezTo>
                    <a:cubicBezTo>
                      <a:pt x="406" y="496"/>
                      <a:pt x="402" y="499"/>
                      <a:pt x="401" y="506"/>
                    </a:cubicBezTo>
                    <a:cubicBezTo>
                      <a:pt x="395" y="502"/>
                      <a:pt x="395" y="493"/>
                      <a:pt x="401" y="490"/>
                    </a:cubicBezTo>
                    <a:cubicBezTo>
                      <a:pt x="393" y="453"/>
                      <a:pt x="335" y="461"/>
                      <a:pt x="303" y="467"/>
                    </a:cubicBezTo>
                    <a:cubicBezTo>
                      <a:pt x="292" y="493"/>
                      <a:pt x="285" y="538"/>
                      <a:pt x="293" y="570"/>
                    </a:cubicBezTo>
                    <a:cubicBezTo>
                      <a:pt x="284" y="573"/>
                      <a:pt x="272" y="558"/>
                      <a:pt x="255" y="555"/>
                    </a:cubicBezTo>
                    <a:cubicBezTo>
                      <a:pt x="241" y="552"/>
                      <a:pt x="226" y="558"/>
                      <a:pt x="216" y="552"/>
                    </a:cubicBezTo>
                    <a:cubicBezTo>
                      <a:pt x="210" y="540"/>
                      <a:pt x="196" y="536"/>
                      <a:pt x="187" y="526"/>
                    </a:cubicBezTo>
                    <a:cubicBezTo>
                      <a:pt x="193" y="527"/>
                      <a:pt x="197" y="535"/>
                      <a:pt x="203" y="529"/>
                    </a:cubicBezTo>
                    <a:cubicBezTo>
                      <a:pt x="200" y="524"/>
                      <a:pt x="196" y="522"/>
                      <a:pt x="199" y="514"/>
                    </a:cubicBezTo>
                    <a:cubicBezTo>
                      <a:pt x="217" y="507"/>
                      <a:pt x="250" y="518"/>
                      <a:pt x="270" y="516"/>
                    </a:cubicBezTo>
                    <a:cubicBezTo>
                      <a:pt x="274" y="531"/>
                      <a:pt x="265" y="549"/>
                      <a:pt x="273" y="558"/>
                    </a:cubicBezTo>
                    <a:cubicBezTo>
                      <a:pt x="287" y="546"/>
                      <a:pt x="273" y="523"/>
                      <a:pt x="274" y="510"/>
                    </a:cubicBezTo>
                    <a:cubicBezTo>
                      <a:pt x="274" y="499"/>
                      <a:pt x="284" y="490"/>
                      <a:pt x="280" y="478"/>
                    </a:cubicBezTo>
                    <a:cubicBezTo>
                      <a:pt x="281" y="474"/>
                      <a:pt x="290" y="476"/>
                      <a:pt x="289" y="469"/>
                    </a:cubicBezTo>
                    <a:cubicBezTo>
                      <a:pt x="246" y="455"/>
                      <a:pt x="193" y="476"/>
                      <a:pt x="191" y="523"/>
                    </a:cubicBezTo>
                    <a:cubicBezTo>
                      <a:pt x="168" y="527"/>
                      <a:pt x="124" y="529"/>
                      <a:pt x="126" y="556"/>
                    </a:cubicBezTo>
                    <a:cubicBezTo>
                      <a:pt x="115" y="556"/>
                      <a:pt x="105" y="554"/>
                      <a:pt x="93" y="555"/>
                    </a:cubicBezTo>
                    <a:cubicBezTo>
                      <a:pt x="94" y="546"/>
                      <a:pt x="102" y="553"/>
                      <a:pt x="110" y="549"/>
                    </a:cubicBezTo>
                    <a:close/>
                    <a:moveTo>
                      <a:pt x="188" y="556"/>
                    </a:moveTo>
                    <a:cubicBezTo>
                      <a:pt x="179" y="556"/>
                      <a:pt x="168" y="559"/>
                      <a:pt x="168" y="550"/>
                    </a:cubicBezTo>
                    <a:cubicBezTo>
                      <a:pt x="175" y="552"/>
                      <a:pt x="186" y="549"/>
                      <a:pt x="188" y="556"/>
                    </a:cubicBezTo>
                    <a:close/>
                    <a:moveTo>
                      <a:pt x="117" y="680"/>
                    </a:moveTo>
                    <a:cubicBezTo>
                      <a:pt x="113" y="663"/>
                      <a:pt x="131" y="639"/>
                      <a:pt x="126" y="616"/>
                    </a:cubicBezTo>
                    <a:cubicBezTo>
                      <a:pt x="108" y="600"/>
                      <a:pt x="74" y="609"/>
                      <a:pt x="44" y="607"/>
                    </a:cubicBezTo>
                    <a:cubicBezTo>
                      <a:pt x="38" y="610"/>
                      <a:pt x="34" y="616"/>
                      <a:pt x="27" y="618"/>
                    </a:cubicBezTo>
                    <a:cubicBezTo>
                      <a:pt x="34" y="602"/>
                      <a:pt x="53" y="594"/>
                      <a:pt x="68" y="582"/>
                    </a:cubicBezTo>
                    <a:cubicBezTo>
                      <a:pt x="86" y="568"/>
                      <a:pt x="99" y="556"/>
                      <a:pt x="137" y="563"/>
                    </a:cubicBezTo>
                    <a:cubicBezTo>
                      <a:pt x="170" y="570"/>
                      <a:pt x="219" y="561"/>
                      <a:pt x="263" y="565"/>
                    </a:cubicBezTo>
                    <a:cubicBezTo>
                      <a:pt x="250" y="585"/>
                      <a:pt x="236" y="603"/>
                      <a:pt x="216" y="616"/>
                    </a:cubicBezTo>
                    <a:cubicBezTo>
                      <a:pt x="215" y="621"/>
                      <a:pt x="219" y="620"/>
                      <a:pt x="218" y="625"/>
                    </a:cubicBezTo>
                    <a:cubicBezTo>
                      <a:pt x="203" y="611"/>
                      <a:pt x="156" y="610"/>
                      <a:pt x="135" y="618"/>
                    </a:cubicBezTo>
                    <a:cubicBezTo>
                      <a:pt x="131" y="645"/>
                      <a:pt x="130" y="659"/>
                      <a:pt x="136" y="678"/>
                    </a:cubicBezTo>
                    <a:cubicBezTo>
                      <a:pt x="131" y="678"/>
                      <a:pt x="131" y="678"/>
                      <a:pt x="131" y="678"/>
                    </a:cubicBezTo>
                    <a:cubicBezTo>
                      <a:pt x="139" y="683"/>
                      <a:pt x="158" y="690"/>
                      <a:pt x="166" y="679"/>
                    </a:cubicBezTo>
                    <a:cubicBezTo>
                      <a:pt x="162" y="673"/>
                      <a:pt x="144" y="682"/>
                      <a:pt x="143" y="674"/>
                    </a:cubicBezTo>
                    <a:cubicBezTo>
                      <a:pt x="150" y="668"/>
                      <a:pt x="167" y="663"/>
                      <a:pt x="178" y="666"/>
                    </a:cubicBezTo>
                    <a:cubicBezTo>
                      <a:pt x="170" y="686"/>
                      <a:pt x="184" y="698"/>
                      <a:pt x="197" y="706"/>
                    </a:cubicBezTo>
                    <a:cubicBezTo>
                      <a:pt x="194" y="714"/>
                      <a:pt x="186" y="716"/>
                      <a:pt x="183" y="723"/>
                    </a:cubicBezTo>
                    <a:cubicBezTo>
                      <a:pt x="168" y="701"/>
                      <a:pt x="149" y="684"/>
                      <a:pt x="117" y="680"/>
                    </a:cubicBezTo>
                    <a:close/>
                    <a:moveTo>
                      <a:pt x="94" y="1002"/>
                    </a:moveTo>
                    <a:cubicBezTo>
                      <a:pt x="97" y="996"/>
                      <a:pt x="102" y="991"/>
                      <a:pt x="109" y="988"/>
                    </a:cubicBezTo>
                    <a:cubicBezTo>
                      <a:pt x="108" y="985"/>
                      <a:pt x="111" y="977"/>
                      <a:pt x="106" y="979"/>
                    </a:cubicBezTo>
                    <a:cubicBezTo>
                      <a:pt x="110" y="973"/>
                      <a:pt x="114" y="984"/>
                      <a:pt x="120" y="982"/>
                    </a:cubicBezTo>
                    <a:cubicBezTo>
                      <a:pt x="116" y="989"/>
                      <a:pt x="111" y="995"/>
                      <a:pt x="110" y="1004"/>
                    </a:cubicBezTo>
                    <a:cubicBezTo>
                      <a:pt x="103" y="1004"/>
                      <a:pt x="98" y="1004"/>
                      <a:pt x="94" y="1002"/>
                    </a:cubicBezTo>
                    <a:close/>
                    <a:moveTo>
                      <a:pt x="198" y="1078"/>
                    </a:moveTo>
                    <a:cubicBezTo>
                      <a:pt x="188" y="1077"/>
                      <a:pt x="183" y="1072"/>
                      <a:pt x="178" y="1066"/>
                    </a:cubicBezTo>
                    <a:cubicBezTo>
                      <a:pt x="176" y="1056"/>
                      <a:pt x="182" y="1053"/>
                      <a:pt x="183" y="1046"/>
                    </a:cubicBezTo>
                    <a:cubicBezTo>
                      <a:pt x="161" y="1042"/>
                      <a:pt x="114" y="1051"/>
                      <a:pt x="115" y="1016"/>
                    </a:cubicBezTo>
                    <a:cubicBezTo>
                      <a:pt x="126" y="1016"/>
                      <a:pt x="126" y="1016"/>
                      <a:pt x="126" y="1016"/>
                    </a:cubicBezTo>
                    <a:cubicBezTo>
                      <a:pt x="128" y="1006"/>
                      <a:pt x="116" y="1012"/>
                      <a:pt x="117" y="1004"/>
                    </a:cubicBezTo>
                    <a:cubicBezTo>
                      <a:pt x="117" y="991"/>
                      <a:pt x="132" y="993"/>
                      <a:pt x="139" y="987"/>
                    </a:cubicBezTo>
                    <a:cubicBezTo>
                      <a:pt x="133" y="975"/>
                      <a:pt x="114" y="975"/>
                      <a:pt x="102" y="967"/>
                    </a:cubicBezTo>
                    <a:cubicBezTo>
                      <a:pt x="77" y="951"/>
                      <a:pt x="64" y="915"/>
                      <a:pt x="87" y="882"/>
                    </a:cubicBezTo>
                    <a:cubicBezTo>
                      <a:pt x="96" y="877"/>
                      <a:pt x="115" y="876"/>
                      <a:pt x="123" y="881"/>
                    </a:cubicBezTo>
                    <a:cubicBezTo>
                      <a:pt x="132" y="871"/>
                      <a:pt x="119" y="858"/>
                      <a:pt x="118" y="843"/>
                    </a:cubicBezTo>
                    <a:cubicBezTo>
                      <a:pt x="117" y="784"/>
                      <a:pt x="200" y="781"/>
                      <a:pt x="219" y="826"/>
                    </a:cubicBezTo>
                    <a:cubicBezTo>
                      <a:pt x="219" y="851"/>
                      <a:pt x="219" y="851"/>
                      <a:pt x="219" y="851"/>
                    </a:cubicBezTo>
                    <a:cubicBezTo>
                      <a:pt x="232" y="849"/>
                      <a:pt x="250" y="833"/>
                      <a:pt x="267" y="845"/>
                    </a:cubicBezTo>
                    <a:cubicBezTo>
                      <a:pt x="280" y="854"/>
                      <a:pt x="273" y="869"/>
                      <a:pt x="268" y="883"/>
                    </a:cubicBezTo>
                    <a:cubicBezTo>
                      <a:pt x="277" y="885"/>
                      <a:pt x="292" y="871"/>
                      <a:pt x="302" y="885"/>
                    </a:cubicBezTo>
                    <a:cubicBezTo>
                      <a:pt x="305" y="909"/>
                      <a:pt x="299" y="925"/>
                      <a:pt x="283" y="931"/>
                    </a:cubicBezTo>
                    <a:cubicBezTo>
                      <a:pt x="283" y="942"/>
                      <a:pt x="283" y="942"/>
                      <a:pt x="283" y="942"/>
                    </a:cubicBezTo>
                    <a:cubicBezTo>
                      <a:pt x="254" y="966"/>
                      <a:pt x="224" y="998"/>
                      <a:pt x="224" y="1044"/>
                    </a:cubicBezTo>
                    <a:cubicBezTo>
                      <a:pt x="204" y="1048"/>
                      <a:pt x="211" y="1069"/>
                      <a:pt x="198" y="1078"/>
                    </a:cubicBezTo>
                    <a:close/>
                    <a:moveTo>
                      <a:pt x="219" y="1077"/>
                    </a:moveTo>
                    <a:cubicBezTo>
                      <a:pt x="218" y="1071"/>
                      <a:pt x="216" y="1066"/>
                      <a:pt x="217" y="1058"/>
                    </a:cubicBezTo>
                    <a:cubicBezTo>
                      <a:pt x="224" y="1050"/>
                      <a:pt x="232" y="1057"/>
                      <a:pt x="233" y="1066"/>
                    </a:cubicBezTo>
                    <a:cubicBezTo>
                      <a:pt x="239" y="1060"/>
                      <a:pt x="256" y="1058"/>
                      <a:pt x="267" y="1064"/>
                    </a:cubicBezTo>
                    <a:cubicBezTo>
                      <a:pt x="267" y="1073"/>
                      <a:pt x="267" y="1073"/>
                      <a:pt x="267" y="1073"/>
                    </a:cubicBezTo>
                    <a:cubicBezTo>
                      <a:pt x="250" y="1077"/>
                      <a:pt x="231" y="1064"/>
                      <a:pt x="219" y="1077"/>
                    </a:cubicBezTo>
                    <a:close/>
                    <a:moveTo>
                      <a:pt x="276" y="1080"/>
                    </a:moveTo>
                    <a:cubicBezTo>
                      <a:pt x="276" y="1074"/>
                      <a:pt x="273" y="1072"/>
                      <a:pt x="274" y="1066"/>
                    </a:cubicBezTo>
                    <a:cubicBezTo>
                      <a:pt x="275" y="1061"/>
                      <a:pt x="286" y="1066"/>
                      <a:pt x="288" y="1062"/>
                    </a:cubicBezTo>
                    <a:cubicBezTo>
                      <a:pt x="291" y="1066"/>
                      <a:pt x="289" y="1076"/>
                      <a:pt x="292" y="1081"/>
                    </a:cubicBezTo>
                    <a:cubicBezTo>
                      <a:pt x="286" y="1073"/>
                      <a:pt x="283" y="1074"/>
                      <a:pt x="276" y="1080"/>
                    </a:cubicBezTo>
                    <a:close/>
                    <a:moveTo>
                      <a:pt x="291" y="1055"/>
                    </a:moveTo>
                    <a:cubicBezTo>
                      <a:pt x="275" y="1053"/>
                      <a:pt x="265" y="1054"/>
                      <a:pt x="247" y="1054"/>
                    </a:cubicBezTo>
                    <a:cubicBezTo>
                      <a:pt x="263" y="1043"/>
                      <a:pt x="277" y="1008"/>
                      <a:pt x="241" y="1010"/>
                    </a:cubicBezTo>
                    <a:cubicBezTo>
                      <a:pt x="250" y="977"/>
                      <a:pt x="302" y="998"/>
                      <a:pt x="329" y="997"/>
                    </a:cubicBezTo>
                    <a:cubicBezTo>
                      <a:pt x="337" y="981"/>
                      <a:pt x="336" y="965"/>
                      <a:pt x="344" y="949"/>
                    </a:cubicBezTo>
                    <a:cubicBezTo>
                      <a:pt x="351" y="933"/>
                      <a:pt x="366" y="925"/>
                      <a:pt x="380" y="913"/>
                    </a:cubicBezTo>
                    <a:cubicBezTo>
                      <a:pt x="391" y="903"/>
                      <a:pt x="399" y="887"/>
                      <a:pt x="413" y="882"/>
                    </a:cubicBezTo>
                    <a:cubicBezTo>
                      <a:pt x="424" y="878"/>
                      <a:pt x="448" y="878"/>
                      <a:pt x="466" y="876"/>
                    </a:cubicBezTo>
                    <a:cubicBezTo>
                      <a:pt x="495" y="872"/>
                      <a:pt x="527" y="869"/>
                      <a:pt x="545" y="881"/>
                    </a:cubicBezTo>
                    <a:cubicBezTo>
                      <a:pt x="531" y="891"/>
                      <a:pt x="528" y="919"/>
                      <a:pt x="538" y="938"/>
                    </a:cubicBezTo>
                    <a:cubicBezTo>
                      <a:pt x="521" y="941"/>
                      <a:pt x="490" y="932"/>
                      <a:pt x="487" y="944"/>
                    </a:cubicBezTo>
                    <a:cubicBezTo>
                      <a:pt x="483" y="943"/>
                      <a:pt x="486" y="936"/>
                      <a:pt x="480" y="939"/>
                    </a:cubicBezTo>
                    <a:cubicBezTo>
                      <a:pt x="471" y="954"/>
                      <a:pt x="470" y="977"/>
                      <a:pt x="461" y="992"/>
                    </a:cubicBezTo>
                    <a:cubicBezTo>
                      <a:pt x="472" y="1008"/>
                      <a:pt x="466" y="1028"/>
                      <a:pt x="468" y="1052"/>
                    </a:cubicBezTo>
                    <a:cubicBezTo>
                      <a:pt x="456" y="1053"/>
                      <a:pt x="456" y="1053"/>
                      <a:pt x="456" y="1053"/>
                    </a:cubicBezTo>
                    <a:cubicBezTo>
                      <a:pt x="445" y="1012"/>
                      <a:pt x="453" y="976"/>
                      <a:pt x="460" y="939"/>
                    </a:cubicBezTo>
                    <a:cubicBezTo>
                      <a:pt x="450" y="926"/>
                      <a:pt x="414" y="936"/>
                      <a:pt x="389" y="937"/>
                    </a:cubicBezTo>
                    <a:cubicBezTo>
                      <a:pt x="383" y="938"/>
                      <a:pt x="377" y="935"/>
                      <a:pt x="373" y="936"/>
                    </a:cubicBezTo>
                    <a:cubicBezTo>
                      <a:pt x="352" y="941"/>
                      <a:pt x="348" y="963"/>
                      <a:pt x="343" y="983"/>
                    </a:cubicBezTo>
                    <a:cubicBezTo>
                      <a:pt x="342" y="990"/>
                      <a:pt x="349" y="990"/>
                      <a:pt x="350" y="995"/>
                    </a:cubicBezTo>
                    <a:cubicBezTo>
                      <a:pt x="350" y="999"/>
                      <a:pt x="342" y="995"/>
                      <a:pt x="341" y="999"/>
                    </a:cubicBezTo>
                    <a:cubicBezTo>
                      <a:pt x="343" y="1007"/>
                      <a:pt x="346" y="1015"/>
                      <a:pt x="345" y="1027"/>
                    </a:cubicBezTo>
                    <a:cubicBezTo>
                      <a:pt x="320" y="1023"/>
                      <a:pt x="297" y="1034"/>
                      <a:pt x="291" y="1055"/>
                    </a:cubicBezTo>
                    <a:close/>
                    <a:moveTo>
                      <a:pt x="209" y="1194"/>
                    </a:moveTo>
                    <a:cubicBezTo>
                      <a:pt x="185" y="1193"/>
                      <a:pt x="148" y="1193"/>
                      <a:pt x="118" y="1198"/>
                    </a:cubicBezTo>
                    <a:cubicBezTo>
                      <a:pt x="148" y="1181"/>
                      <a:pt x="167" y="1155"/>
                      <a:pt x="187" y="1128"/>
                    </a:cubicBezTo>
                    <a:cubicBezTo>
                      <a:pt x="211" y="1119"/>
                      <a:pt x="244" y="1120"/>
                      <a:pt x="270" y="1127"/>
                    </a:cubicBezTo>
                    <a:cubicBezTo>
                      <a:pt x="278" y="1135"/>
                      <a:pt x="274" y="1155"/>
                      <a:pt x="278" y="1166"/>
                    </a:cubicBezTo>
                    <a:cubicBezTo>
                      <a:pt x="247" y="1157"/>
                      <a:pt x="242" y="1196"/>
                      <a:pt x="233" y="1218"/>
                    </a:cubicBezTo>
                    <a:cubicBezTo>
                      <a:pt x="232" y="1225"/>
                      <a:pt x="242" y="1220"/>
                      <a:pt x="240" y="1227"/>
                    </a:cubicBezTo>
                    <a:cubicBezTo>
                      <a:pt x="222" y="1225"/>
                      <a:pt x="216" y="1210"/>
                      <a:pt x="209" y="1194"/>
                    </a:cubicBezTo>
                    <a:close/>
                    <a:moveTo>
                      <a:pt x="235" y="1234"/>
                    </a:moveTo>
                    <a:cubicBezTo>
                      <a:pt x="236" y="1231"/>
                      <a:pt x="245" y="1236"/>
                      <a:pt x="244" y="1241"/>
                    </a:cubicBezTo>
                    <a:cubicBezTo>
                      <a:pt x="237" y="1243"/>
                      <a:pt x="240" y="1235"/>
                      <a:pt x="235" y="1234"/>
                    </a:cubicBezTo>
                    <a:close/>
                    <a:moveTo>
                      <a:pt x="364" y="1536"/>
                    </a:moveTo>
                    <a:cubicBezTo>
                      <a:pt x="369" y="1527"/>
                      <a:pt x="374" y="1535"/>
                      <a:pt x="381" y="1532"/>
                    </a:cubicBezTo>
                    <a:cubicBezTo>
                      <a:pt x="384" y="1539"/>
                      <a:pt x="388" y="1545"/>
                      <a:pt x="387" y="1556"/>
                    </a:cubicBezTo>
                    <a:cubicBezTo>
                      <a:pt x="383" y="1558"/>
                      <a:pt x="379" y="1561"/>
                      <a:pt x="371" y="1560"/>
                    </a:cubicBezTo>
                    <a:cubicBezTo>
                      <a:pt x="371" y="1550"/>
                      <a:pt x="364" y="1546"/>
                      <a:pt x="364" y="1536"/>
                    </a:cubicBezTo>
                    <a:close/>
                    <a:moveTo>
                      <a:pt x="430" y="1571"/>
                    </a:moveTo>
                    <a:cubicBezTo>
                      <a:pt x="418" y="1587"/>
                      <a:pt x="400" y="1598"/>
                      <a:pt x="388" y="1608"/>
                    </a:cubicBezTo>
                    <a:cubicBezTo>
                      <a:pt x="379" y="1605"/>
                      <a:pt x="367" y="1605"/>
                      <a:pt x="360" y="1601"/>
                    </a:cubicBezTo>
                    <a:cubicBezTo>
                      <a:pt x="357" y="1593"/>
                      <a:pt x="356" y="1581"/>
                      <a:pt x="361" y="1575"/>
                    </a:cubicBezTo>
                    <a:cubicBezTo>
                      <a:pt x="369" y="1566"/>
                      <a:pt x="386" y="1569"/>
                      <a:pt x="398" y="1565"/>
                    </a:cubicBezTo>
                    <a:cubicBezTo>
                      <a:pt x="435" y="1552"/>
                      <a:pt x="441" y="1503"/>
                      <a:pt x="463" y="1475"/>
                    </a:cubicBezTo>
                    <a:cubicBezTo>
                      <a:pt x="481" y="1512"/>
                      <a:pt x="448" y="1548"/>
                      <a:pt x="430" y="1571"/>
                    </a:cubicBezTo>
                    <a:close/>
                    <a:moveTo>
                      <a:pt x="390" y="1532"/>
                    </a:moveTo>
                    <a:cubicBezTo>
                      <a:pt x="396" y="1524"/>
                      <a:pt x="409" y="1523"/>
                      <a:pt x="413" y="1513"/>
                    </a:cubicBezTo>
                    <a:cubicBezTo>
                      <a:pt x="416" y="1516"/>
                      <a:pt x="414" y="1524"/>
                      <a:pt x="417" y="1527"/>
                    </a:cubicBezTo>
                    <a:cubicBezTo>
                      <a:pt x="423" y="1529"/>
                      <a:pt x="423" y="1523"/>
                      <a:pt x="425" y="1520"/>
                    </a:cubicBezTo>
                    <a:cubicBezTo>
                      <a:pt x="426" y="1533"/>
                      <a:pt x="410" y="1546"/>
                      <a:pt x="398" y="1553"/>
                    </a:cubicBezTo>
                    <a:cubicBezTo>
                      <a:pt x="399" y="1547"/>
                      <a:pt x="396" y="1536"/>
                      <a:pt x="390" y="1532"/>
                    </a:cubicBezTo>
                    <a:close/>
                    <a:moveTo>
                      <a:pt x="453" y="1468"/>
                    </a:moveTo>
                    <a:cubicBezTo>
                      <a:pt x="461" y="1468"/>
                      <a:pt x="461" y="1468"/>
                      <a:pt x="461" y="1468"/>
                    </a:cubicBezTo>
                    <a:cubicBezTo>
                      <a:pt x="461" y="1472"/>
                      <a:pt x="451" y="1478"/>
                      <a:pt x="453" y="1468"/>
                    </a:cubicBezTo>
                    <a:close/>
                    <a:moveTo>
                      <a:pt x="342" y="1340"/>
                    </a:moveTo>
                    <a:cubicBezTo>
                      <a:pt x="349" y="1340"/>
                      <a:pt x="349" y="1340"/>
                      <a:pt x="349" y="1340"/>
                    </a:cubicBezTo>
                    <a:cubicBezTo>
                      <a:pt x="360" y="1367"/>
                      <a:pt x="333" y="1379"/>
                      <a:pt x="320" y="1393"/>
                    </a:cubicBezTo>
                    <a:cubicBezTo>
                      <a:pt x="320" y="1388"/>
                      <a:pt x="318" y="1386"/>
                      <a:pt x="313" y="1386"/>
                    </a:cubicBezTo>
                    <a:cubicBezTo>
                      <a:pt x="310" y="1365"/>
                      <a:pt x="341" y="1363"/>
                      <a:pt x="342" y="1340"/>
                    </a:cubicBezTo>
                    <a:close/>
                    <a:moveTo>
                      <a:pt x="335" y="1336"/>
                    </a:moveTo>
                    <a:cubicBezTo>
                      <a:pt x="333" y="1349"/>
                      <a:pt x="323" y="1354"/>
                      <a:pt x="316" y="1362"/>
                    </a:cubicBezTo>
                    <a:cubicBezTo>
                      <a:pt x="313" y="1356"/>
                      <a:pt x="308" y="1350"/>
                      <a:pt x="305" y="1341"/>
                    </a:cubicBezTo>
                    <a:cubicBezTo>
                      <a:pt x="316" y="1332"/>
                      <a:pt x="324" y="1320"/>
                      <a:pt x="335" y="1336"/>
                    </a:cubicBezTo>
                    <a:close/>
                    <a:moveTo>
                      <a:pt x="287" y="1343"/>
                    </a:moveTo>
                    <a:cubicBezTo>
                      <a:pt x="291" y="1343"/>
                      <a:pt x="291" y="1343"/>
                      <a:pt x="291" y="1343"/>
                    </a:cubicBezTo>
                    <a:cubicBezTo>
                      <a:pt x="301" y="1348"/>
                      <a:pt x="306" y="1359"/>
                      <a:pt x="305" y="1376"/>
                    </a:cubicBezTo>
                    <a:cubicBezTo>
                      <a:pt x="299" y="1369"/>
                      <a:pt x="294" y="1362"/>
                      <a:pt x="286" y="1357"/>
                    </a:cubicBezTo>
                    <a:cubicBezTo>
                      <a:pt x="285" y="1351"/>
                      <a:pt x="286" y="1347"/>
                      <a:pt x="287" y="1343"/>
                    </a:cubicBezTo>
                    <a:close/>
                    <a:moveTo>
                      <a:pt x="331" y="1421"/>
                    </a:moveTo>
                    <a:cubicBezTo>
                      <a:pt x="365" y="1433"/>
                      <a:pt x="418" y="1417"/>
                      <a:pt x="441" y="1442"/>
                    </a:cubicBezTo>
                    <a:cubicBezTo>
                      <a:pt x="439" y="1453"/>
                      <a:pt x="437" y="1458"/>
                      <a:pt x="440" y="1468"/>
                    </a:cubicBezTo>
                    <a:cubicBezTo>
                      <a:pt x="428" y="1486"/>
                      <a:pt x="414" y="1500"/>
                      <a:pt x="401" y="1515"/>
                    </a:cubicBezTo>
                    <a:cubicBezTo>
                      <a:pt x="393" y="1516"/>
                      <a:pt x="388" y="1520"/>
                      <a:pt x="381" y="1521"/>
                    </a:cubicBezTo>
                    <a:cubicBezTo>
                      <a:pt x="347" y="1502"/>
                      <a:pt x="290" y="1507"/>
                      <a:pt x="254" y="1505"/>
                    </a:cubicBezTo>
                    <a:cubicBezTo>
                      <a:pt x="279" y="1476"/>
                      <a:pt x="304" y="1448"/>
                      <a:pt x="331" y="1421"/>
                    </a:cubicBezTo>
                    <a:close/>
                    <a:moveTo>
                      <a:pt x="24" y="1373"/>
                    </a:moveTo>
                    <a:cubicBezTo>
                      <a:pt x="19" y="1373"/>
                      <a:pt x="14" y="1378"/>
                      <a:pt x="10" y="1374"/>
                    </a:cubicBezTo>
                    <a:cubicBezTo>
                      <a:pt x="13" y="1347"/>
                      <a:pt x="2" y="1304"/>
                      <a:pt x="22" y="1282"/>
                    </a:cubicBezTo>
                    <a:cubicBezTo>
                      <a:pt x="17" y="1311"/>
                      <a:pt x="26" y="1346"/>
                      <a:pt x="24" y="1373"/>
                    </a:cubicBezTo>
                    <a:close/>
                    <a:moveTo>
                      <a:pt x="33" y="1373"/>
                    </a:moveTo>
                    <a:cubicBezTo>
                      <a:pt x="35" y="1364"/>
                      <a:pt x="31" y="1347"/>
                      <a:pt x="32" y="1333"/>
                    </a:cubicBezTo>
                    <a:cubicBezTo>
                      <a:pt x="58" y="1328"/>
                      <a:pt x="94" y="1326"/>
                      <a:pt x="131" y="1329"/>
                    </a:cubicBezTo>
                    <a:cubicBezTo>
                      <a:pt x="133" y="1338"/>
                      <a:pt x="127" y="1341"/>
                      <a:pt x="128" y="1350"/>
                    </a:cubicBezTo>
                    <a:cubicBezTo>
                      <a:pt x="99" y="1350"/>
                      <a:pt x="73" y="1359"/>
                      <a:pt x="58" y="1376"/>
                    </a:cubicBezTo>
                    <a:cubicBezTo>
                      <a:pt x="52" y="1372"/>
                      <a:pt x="43" y="1373"/>
                      <a:pt x="33" y="1373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27" name="Freeform 35"/>
              <p:cNvSpPr>
                <a:spLocks noEditPoints="1"/>
              </p:cNvSpPr>
              <p:nvPr/>
            </p:nvSpPr>
            <p:spPr bwMode="auto">
              <a:xfrm>
                <a:off x="709607" y="3632200"/>
                <a:ext cx="422275" cy="266700"/>
              </a:xfrm>
              <a:custGeom>
                <a:avLst/>
                <a:gdLst>
                  <a:gd name="T0" fmla="*/ 53 w 354"/>
                  <a:gd name="T1" fmla="*/ 187 h 224"/>
                  <a:gd name="T2" fmla="*/ 249 w 354"/>
                  <a:gd name="T3" fmla="*/ 184 h 224"/>
                  <a:gd name="T4" fmla="*/ 330 w 354"/>
                  <a:gd name="T5" fmla="*/ 197 h 224"/>
                  <a:gd name="T6" fmla="*/ 337 w 354"/>
                  <a:gd name="T7" fmla="*/ 195 h 224"/>
                  <a:gd name="T8" fmla="*/ 339 w 354"/>
                  <a:gd name="T9" fmla="*/ 182 h 224"/>
                  <a:gd name="T10" fmla="*/ 216 w 354"/>
                  <a:gd name="T11" fmla="*/ 146 h 224"/>
                  <a:gd name="T12" fmla="*/ 207 w 354"/>
                  <a:gd name="T13" fmla="*/ 74 h 224"/>
                  <a:gd name="T14" fmla="*/ 89 w 354"/>
                  <a:gd name="T15" fmla="*/ 80 h 224"/>
                  <a:gd name="T16" fmla="*/ 204 w 354"/>
                  <a:gd name="T17" fmla="*/ 79 h 224"/>
                  <a:gd name="T18" fmla="*/ 94 w 354"/>
                  <a:gd name="T19" fmla="*/ 147 h 224"/>
                  <a:gd name="T20" fmla="*/ 87 w 354"/>
                  <a:gd name="T21" fmla="*/ 147 h 224"/>
                  <a:gd name="T22" fmla="*/ 75 w 354"/>
                  <a:gd name="T23" fmla="*/ 85 h 224"/>
                  <a:gd name="T24" fmla="*/ 77 w 354"/>
                  <a:gd name="T25" fmla="*/ 80 h 224"/>
                  <a:gd name="T26" fmla="*/ 75 w 354"/>
                  <a:gd name="T27" fmla="*/ 13 h 224"/>
                  <a:gd name="T28" fmla="*/ 0 w 354"/>
                  <a:gd name="T29" fmla="*/ 33 h 224"/>
                  <a:gd name="T30" fmla="*/ 64 w 354"/>
                  <a:gd name="T31" fmla="*/ 89 h 224"/>
                  <a:gd name="T32" fmla="*/ 39 w 354"/>
                  <a:gd name="T33" fmla="*/ 143 h 224"/>
                  <a:gd name="T34" fmla="*/ 66 w 354"/>
                  <a:gd name="T35" fmla="*/ 162 h 224"/>
                  <a:gd name="T36" fmla="*/ 73 w 354"/>
                  <a:gd name="T37" fmla="*/ 170 h 224"/>
                  <a:gd name="T38" fmla="*/ 85 w 354"/>
                  <a:gd name="T39" fmla="*/ 156 h 224"/>
                  <a:gd name="T40" fmla="*/ 208 w 354"/>
                  <a:gd name="T41" fmla="*/ 171 h 224"/>
                  <a:gd name="T42" fmla="*/ 238 w 354"/>
                  <a:gd name="T43" fmla="*/ 161 h 224"/>
                  <a:gd name="T44" fmla="*/ 42 w 354"/>
                  <a:gd name="T45" fmla="*/ 173 h 224"/>
                  <a:gd name="T46" fmla="*/ 0 w 354"/>
                  <a:gd name="T47" fmla="*/ 143 h 224"/>
                  <a:gd name="T48" fmla="*/ 9 w 354"/>
                  <a:gd name="T49" fmla="*/ 158 h 224"/>
                  <a:gd name="T50" fmla="*/ 0 w 354"/>
                  <a:gd name="T51" fmla="*/ 210 h 224"/>
                  <a:gd name="T52" fmla="*/ 14 w 354"/>
                  <a:gd name="T53" fmla="*/ 214 h 224"/>
                  <a:gd name="T54" fmla="*/ 284 w 354"/>
                  <a:gd name="T55" fmla="*/ 178 h 224"/>
                  <a:gd name="T56" fmla="*/ 293 w 354"/>
                  <a:gd name="T57" fmla="*/ 127 h 224"/>
                  <a:gd name="T58" fmla="*/ 293 w 354"/>
                  <a:gd name="T59" fmla="*/ 127 h 224"/>
                  <a:gd name="T60" fmla="*/ 247 w 354"/>
                  <a:gd name="T61" fmla="*/ 177 h 224"/>
                  <a:gd name="T62" fmla="*/ 94 w 354"/>
                  <a:gd name="T63" fmla="*/ 159 h 224"/>
                  <a:gd name="T64" fmla="*/ 94 w 354"/>
                  <a:gd name="T65" fmla="*/ 159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54" h="224">
                    <a:moveTo>
                      <a:pt x="14" y="214"/>
                    </a:moveTo>
                    <a:cubicBezTo>
                      <a:pt x="31" y="209"/>
                      <a:pt x="39" y="195"/>
                      <a:pt x="53" y="187"/>
                    </a:cubicBezTo>
                    <a:cubicBezTo>
                      <a:pt x="112" y="196"/>
                      <a:pt x="182" y="186"/>
                      <a:pt x="237" y="195"/>
                    </a:cubicBezTo>
                    <a:cubicBezTo>
                      <a:pt x="240" y="191"/>
                      <a:pt x="242" y="185"/>
                      <a:pt x="249" y="184"/>
                    </a:cubicBezTo>
                    <a:cubicBezTo>
                      <a:pt x="248" y="193"/>
                      <a:pt x="253" y="195"/>
                      <a:pt x="254" y="202"/>
                    </a:cubicBezTo>
                    <a:cubicBezTo>
                      <a:pt x="275" y="213"/>
                      <a:pt x="319" y="224"/>
                      <a:pt x="330" y="197"/>
                    </a:cubicBezTo>
                    <a:cubicBezTo>
                      <a:pt x="333" y="191"/>
                      <a:pt x="325" y="188"/>
                      <a:pt x="330" y="186"/>
                    </a:cubicBezTo>
                    <a:cubicBezTo>
                      <a:pt x="333" y="188"/>
                      <a:pt x="332" y="195"/>
                      <a:pt x="337" y="195"/>
                    </a:cubicBezTo>
                    <a:cubicBezTo>
                      <a:pt x="342" y="191"/>
                      <a:pt x="354" y="196"/>
                      <a:pt x="353" y="187"/>
                    </a:cubicBezTo>
                    <a:cubicBezTo>
                      <a:pt x="353" y="180"/>
                      <a:pt x="341" y="187"/>
                      <a:pt x="339" y="182"/>
                    </a:cubicBezTo>
                    <a:cubicBezTo>
                      <a:pt x="353" y="110"/>
                      <a:pt x="254" y="101"/>
                      <a:pt x="239" y="151"/>
                    </a:cubicBezTo>
                    <a:cubicBezTo>
                      <a:pt x="231" y="149"/>
                      <a:pt x="222" y="149"/>
                      <a:pt x="216" y="146"/>
                    </a:cubicBezTo>
                    <a:cubicBezTo>
                      <a:pt x="214" y="74"/>
                      <a:pt x="214" y="74"/>
                      <a:pt x="214" y="74"/>
                    </a:cubicBezTo>
                    <a:cubicBezTo>
                      <a:pt x="207" y="74"/>
                      <a:pt x="207" y="74"/>
                      <a:pt x="207" y="74"/>
                    </a:cubicBezTo>
                    <a:cubicBezTo>
                      <a:pt x="186" y="35"/>
                      <a:pt x="168" y="2"/>
                      <a:pt x="100" y="12"/>
                    </a:cubicBezTo>
                    <a:cubicBezTo>
                      <a:pt x="88" y="26"/>
                      <a:pt x="88" y="59"/>
                      <a:pt x="89" y="80"/>
                    </a:cubicBezTo>
                    <a:cubicBezTo>
                      <a:pt x="117" y="93"/>
                      <a:pt x="159" y="80"/>
                      <a:pt x="192" y="88"/>
                    </a:cubicBezTo>
                    <a:cubicBezTo>
                      <a:pt x="197" y="86"/>
                      <a:pt x="201" y="84"/>
                      <a:pt x="204" y="79"/>
                    </a:cubicBezTo>
                    <a:cubicBezTo>
                      <a:pt x="205" y="94"/>
                      <a:pt x="212" y="129"/>
                      <a:pt x="205" y="148"/>
                    </a:cubicBezTo>
                    <a:cubicBezTo>
                      <a:pt x="167" y="145"/>
                      <a:pt x="133" y="149"/>
                      <a:pt x="94" y="147"/>
                    </a:cubicBezTo>
                    <a:cubicBezTo>
                      <a:pt x="91" y="127"/>
                      <a:pt x="98" y="99"/>
                      <a:pt x="89" y="85"/>
                    </a:cubicBezTo>
                    <a:cubicBezTo>
                      <a:pt x="80" y="99"/>
                      <a:pt x="87" y="126"/>
                      <a:pt x="87" y="147"/>
                    </a:cubicBezTo>
                    <a:cubicBezTo>
                      <a:pt x="83" y="146"/>
                      <a:pt x="75" y="150"/>
                      <a:pt x="75" y="146"/>
                    </a:cubicBezTo>
                    <a:cubicBezTo>
                      <a:pt x="77" y="125"/>
                      <a:pt x="66" y="101"/>
                      <a:pt x="75" y="85"/>
                    </a:cubicBezTo>
                    <a:cubicBezTo>
                      <a:pt x="79" y="86"/>
                      <a:pt x="81" y="89"/>
                      <a:pt x="84" y="91"/>
                    </a:cubicBezTo>
                    <a:cubicBezTo>
                      <a:pt x="84" y="84"/>
                      <a:pt x="77" y="86"/>
                      <a:pt x="77" y="80"/>
                    </a:cubicBezTo>
                    <a:cubicBezTo>
                      <a:pt x="81" y="61"/>
                      <a:pt x="74" y="21"/>
                      <a:pt x="91" y="6"/>
                    </a:cubicBezTo>
                    <a:cubicBezTo>
                      <a:pt x="83" y="0"/>
                      <a:pt x="83" y="13"/>
                      <a:pt x="75" y="13"/>
                    </a:cubicBezTo>
                    <a:cubicBezTo>
                      <a:pt x="53" y="13"/>
                      <a:pt x="37" y="13"/>
                      <a:pt x="19" y="12"/>
                    </a:cubicBezTo>
                    <a:cubicBezTo>
                      <a:pt x="11" y="18"/>
                      <a:pt x="4" y="24"/>
                      <a:pt x="0" y="33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18" y="84"/>
                      <a:pt x="44" y="80"/>
                      <a:pt x="64" y="89"/>
                    </a:cubicBezTo>
                    <a:cubicBezTo>
                      <a:pt x="63" y="110"/>
                      <a:pt x="72" y="132"/>
                      <a:pt x="64" y="148"/>
                    </a:cubicBezTo>
                    <a:cubicBezTo>
                      <a:pt x="54" y="148"/>
                      <a:pt x="51" y="141"/>
                      <a:pt x="39" y="143"/>
                    </a:cubicBezTo>
                    <a:cubicBezTo>
                      <a:pt x="38" y="150"/>
                      <a:pt x="45" y="150"/>
                      <a:pt x="45" y="157"/>
                    </a:cubicBezTo>
                    <a:cubicBezTo>
                      <a:pt x="51" y="155"/>
                      <a:pt x="65" y="150"/>
                      <a:pt x="66" y="162"/>
                    </a:cubicBezTo>
                    <a:cubicBezTo>
                      <a:pt x="59" y="162"/>
                      <a:pt x="44" y="154"/>
                      <a:pt x="43" y="164"/>
                    </a:cubicBezTo>
                    <a:cubicBezTo>
                      <a:pt x="50" y="169"/>
                      <a:pt x="67" y="171"/>
                      <a:pt x="73" y="170"/>
                    </a:cubicBezTo>
                    <a:cubicBezTo>
                      <a:pt x="77" y="168"/>
                      <a:pt x="72" y="158"/>
                      <a:pt x="77" y="156"/>
                    </a:cubicBezTo>
                    <a:cubicBezTo>
                      <a:pt x="85" y="156"/>
                      <a:pt x="85" y="156"/>
                      <a:pt x="85" y="156"/>
                    </a:cubicBezTo>
                    <a:cubicBezTo>
                      <a:pt x="85" y="162"/>
                      <a:pt x="87" y="164"/>
                      <a:pt x="87" y="168"/>
                    </a:cubicBezTo>
                    <a:cubicBezTo>
                      <a:pt x="123" y="174"/>
                      <a:pt x="170" y="167"/>
                      <a:pt x="208" y="171"/>
                    </a:cubicBezTo>
                    <a:cubicBezTo>
                      <a:pt x="214" y="169"/>
                      <a:pt x="213" y="160"/>
                      <a:pt x="218" y="157"/>
                    </a:cubicBezTo>
                    <a:cubicBezTo>
                      <a:pt x="224" y="159"/>
                      <a:pt x="234" y="157"/>
                      <a:pt x="238" y="161"/>
                    </a:cubicBezTo>
                    <a:cubicBezTo>
                      <a:pt x="232" y="163"/>
                      <a:pt x="237" y="175"/>
                      <a:pt x="233" y="177"/>
                    </a:cubicBezTo>
                    <a:cubicBezTo>
                      <a:pt x="169" y="172"/>
                      <a:pt x="95" y="180"/>
                      <a:pt x="42" y="173"/>
                    </a:cubicBezTo>
                    <a:cubicBezTo>
                      <a:pt x="38" y="143"/>
                      <a:pt x="28" y="109"/>
                      <a:pt x="0" y="116"/>
                    </a:cubicBezTo>
                    <a:cubicBezTo>
                      <a:pt x="0" y="143"/>
                      <a:pt x="0" y="143"/>
                      <a:pt x="0" y="143"/>
                    </a:cubicBezTo>
                    <a:cubicBezTo>
                      <a:pt x="1" y="143"/>
                      <a:pt x="1" y="142"/>
                      <a:pt x="2" y="142"/>
                    </a:cubicBezTo>
                    <a:cubicBezTo>
                      <a:pt x="1" y="151"/>
                      <a:pt x="5" y="155"/>
                      <a:pt x="9" y="158"/>
                    </a:cubicBezTo>
                    <a:cubicBezTo>
                      <a:pt x="11" y="168"/>
                      <a:pt x="5" y="172"/>
                      <a:pt x="0" y="177"/>
                    </a:cubicBezTo>
                    <a:cubicBezTo>
                      <a:pt x="0" y="210"/>
                      <a:pt x="0" y="210"/>
                      <a:pt x="0" y="210"/>
                    </a:cubicBezTo>
                    <a:cubicBezTo>
                      <a:pt x="3" y="209"/>
                      <a:pt x="6" y="207"/>
                      <a:pt x="11" y="207"/>
                    </a:cubicBezTo>
                    <a:cubicBezTo>
                      <a:pt x="14" y="207"/>
                      <a:pt x="12" y="213"/>
                      <a:pt x="14" y="214"/>
                    </a:cubicBezTo>
                    <a:close/>
                    <a:moveTo>
                      <a:pt x="309" y="176"/>
                    </a:moveTo>
                    <a:cubicBezTo>
                      <a:pt x="295" y="171"/>
                      <a:pt x="299" y="178"/>
                      <a:pt x="284" y="178"/>
                    </a:cubicBezTo>
                    <a:cubicBezTo>
                      <a:pt x="264" y="147"/>
                      <a:pt x="327" y="144"/>
                      <a:pt x="309" y="176"/>
                    </a:cubicBezTo>
                    <a:close/>
                    <a:moveTo>
                      <a:pt x="293" y="127"/>
                    </a:moveTo>
                    <a:cubicBezTo>
                      <a:pt x="278" y="132"/>
                      <a:pt x="257" y="132"/>
                      <a:pt x="255" y="150"/>
                    </a:cubicBezTo>
                    <a:cubicBezTo>
                      <a:pt x="248" y="137"/>
                      <a:pt x="275" y="121"/>
                      <a:pt x="293" y="127"/>
                    </a:cubicBezTo>
                    <a:close/>
                    <a:moveTo>
                      <a:pt x="252" y="159"/>
                    </a:moveTo>
                    <a:cubicBezTo>
                      <a:pt x="250" y="165"/>
                      <a:pt x="246" y="169"/>
                      <a:pt x="247" y="177"/>
                    </a:cubicBezTo>
                    <a:cubicBezTo>
                      <a:pt x="239" y="174"/>
                      <a:pt x="244" y="159"/>
                      <a:pt x="252" y="159"/>
                    </a:cubicBezTo>
                    <a:close/>
                    <a:moveTo>
                      <a:pt x="94" y="159"/>
                    </a:moveTo>
                    <a:cubicBezTo>
                      <a:pt x="129" y="152"/>
                      <a:pt x="167" y="155"/>
                      <a:pt x="207" y="157"/>
                    </a:cubicBezTo>
                    <a:cubicBezTo>
                      <a:pt x="173" y="165"/>
                      <a:pt x="128" y="162"/>
                      <a:pt x="94" y="159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28" name="Freeform 36"/>
              <p:cNvSpPr>
                <a:spLocks/>
              </p:cNvSpPr>
              <p:nvPr/>
            </p:nvSpPr>
            <p:spPr bwMode="auto">
              <a:xfrm>
                <a:off x="736595" y="2713038"/>
                <a:ext cx="0" cy="1588"/>
              </a:xfrm>
              <a:custGeom>
                <a:avLst/>
                <a:gdLst>
                  <a:gd name="T0" fmla="*/ 1 h 1"/>
                  <a:gd name="T1" fmla="*/ 0 h 1"/>
                  <a:gd name="T2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29" name="Freeform 37"/>
              <p:cNvSpPr>
                <a:spLocks/>
              </p:cNvSpPr>
              <p:nvPr/>
            </p:nvSpPr>
            <p:spPr bwMode="auto">
              <a:xfrm>
                <a:off x="1846257" y="2855913"/>
                <a:ext cx="165100" cy="139700"/>
              </a:xfrm>
              <a:custGeom>
                <a:avLst/>
                <a:gdLst>
                  <a:gd name="T0" fmla="*/ 100 w 139"/>
                  <a:gd name="T1" fmla="*/ 13 h 117"/>
                  <a:gd name="T2" fmla="*/ 16 w 139"/>
                  <a:gd name="T3" fmla="*/ 22 h 117"/>
                  <a:gd name="T4" fmla="*/ 15 w 139"/>
                  <a:gd name="T5" fmla="*/ 75 h 117"/>
                  <a:gd name="T6" fmla="*/ 14 w 139"/>
                  <a:gd name="T7" fmla="*/ 117 h 117"/>
                  <a:gd name="T8" fmla="*/ 15 w 139"/>
                  <a:gd name="T9" fmla="*/ 83 h 117"/>
                  <a:gd name="T10" fmla="*/ 123 w 139"/>
                  <a:gd name="T11" fmla="*/ 79 h 117"/>
                  <a:gd name="T12" fmla="*/ 125 w 139"/>
                  <a:gd name="T13" fmla="*/ 104 h 117"/>
                  <a:gd name="T14" fmla="*/ 130 w 139"/>
                  <a:gd name="T15" fmla="*/ 12 h 117"/>
                  <a:gd name="T16" fmla="*/ 100 w 139"/>
                  <a:gd name="T17" fmla="*/ 13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9" h="117">
                    <a:moveTo>
                      <a:pt x="100" y="13"/>
                    </a:moveTo>
                    <a:cubicBezTo>
                      <a:pt x="71" y="16"/>
                      <a:pt x="33" y="0"/>
                      <a:pt x="16" y="22"/>
                    </a:cubicBezTo>
                    <a:cubicBezTo>
                      <a:pt x="13" y="36"/>
                      <a:pt x="6" y="60"/>
                      <a:pt x="15" y="75"/>
                    </a:cubicBezTo>
                    <a:cubicBezTo>
                      <a:pt x="0" y="79"/>
                      <a:pt x="2" y="110"/>
                      <a:pt x="14" y="117"/>
                    </a:cubicBezTo>
                    <a:cubicBezTo>
                      <a:pt x="18" y="109"/>
                      <a:pt x="10" y="93"/>
                      <a:pt x="15" y="83"/>
                    </a:cubicBezTo>
                    <a:cubicBezTo>
                      <a:pt x="48" y="78"/>
                      <a:pt x="97" y="95"/>
                      <a:pt x="123" y="79"/>
                    </a:cubicBezTo>
                    <a:cubicBezTo>
                      <a:pt x="126" y="89"/>
                      <a:pt x="117" y="100"/>
                      <a:pt x="125" y="104"/>
                    </a:cubicBezTo>
                    <a:cubicBezTo>
                      <a:pt x="131" y="78"/>
                      <a:pt x="139" y="43"/>
                      <a:pt x="130" y="12"/>
                    </a:cubicBezTo>
                    <a:cubicBezTo>
                      <a:pt x="120" y="5"/>
                      <a:pt x="111" y="11"/>
                      <a:pt x="100" y="13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  <p:sp>
            <p:nvSpPr>
              <p:cNvPr id="130" name="Freeform 38"/>
              <p:cNvSpPr>
                <a:spLocks noEditPoints="1"/>
              </p:cNvSpPr>
              <p:nvPr/>
            </p:nvSpPr>
            <p:spPr bwMode="auto">
              <a:xfrm>
                <a:off x="2332032" y="3100388"/>
                <a:ext cx="144463" cy="201613"/>
              </a:xfrm>
              <a:custGeom>
                <a:avLst/>
                <a:gdLst>
                  <a:gd name="T0" fmla="*/ 113 w 122"/>
                  <a:gd name="T1" fmla="*/ 69 h 169"/>
                  <a:gd name="T2" fmla="*/ 66 w 122"/>
                  <a:gd name="T3" fmla="*/ 8 h 169"/>
                  <a:gd name="T4" fmla="*/ 4 w 122"/>
                  <a:gd name="T5" fmla="*/ 7 h 169"/>
                  <a:gd name="T6" fmla="*/ 9 w 122"/>
                  <a:gd name="T7" fmla="*/ 82 h 169"/>
                  <a:gd name="T8" fmla="*/ 18 w 122"/>
                  <a:gd name="T9" fmla="*/ 163 h 169"/>
                  <a:gd name="T10" fmla="*/ 92 w 122"/>
                  <a:gd name="T11" fmla="*/ 163 h 169"/>
                  <a:gd name="T12" fmla="*/ 112 w 122"/>
                  <a:gd name="T13" fmla="*/ 162 h 169"/>
                  <a:gd name="T14" fmla="*/ 113 w 122"/>
                  <a:gd name="T15" fmla="*/ 69 h 169"/>
                  <a:gd name="T16" fmla="*/ 106 w 122"/>
                  <a:gd name="T17" fmla="*/ 156 h 169"/>
                  <a:gd name="T18" fmla="*/ 25 w 122"/>
                  <a:gd name="T19" fmla="*/ 156 h 169"/>
                  <a:gd name="T20" fmla="*/ 16 w 122"/>
                  <a:gd name="T21" fmla="*/ 83 h 169"/>
                  <a:gd name="T22" fmla="*/ 23 w 122"/>
                  <a:gd name="T23" fmla="*/ 80 h 169"/>
                  <a:gd name="T24" fmla="*/ 106 w 122"/>
                  <a:gd name="T25" fmla="*/ 90 h 169"/>
                  <a:gd name="T26" fmla="*/ 106 w 122"/>
                  <a:gd name="T27" fmla="*/ 156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2" h="169">
                    <a:moveTo>
                      <a:pt x="113" y="69"/>
                    </a:moveTo>
                    <a:cubicBezTo>
                      <a:pt x="101" y="45"/>
                      <a:pt x="85" y="24"/>
                      <a:pt x="66" y="8"/>
                    </a:cubicBezTo>
                    <a:cubicBezTo>
                      <a:pt x="42" y="10"/>
                      <a:pt x="22" y="0"/>
                      <a:pt x="4" y="7"/>
                    </a:cubicBezTo>
                    <a:cubicBezTo>
                      <a:pt x="0" y="33"/>
                      <a:pt x="6" y="57"/>
                      <a:pt x="9" y="82"/>
                    </a:cubicBezTo>
                    <a:cubicBezTo>
                      <a:pt x="12" y="109"/>
                      <a:pt x="1" y="140"/>
                      <a:pt x="18" y="163"/>
                    </a:cubicBezTo>
                    <a:cubicBezTo>
                      <a:pt x="40" y="169"/>
                      <a:pt x="68" y="162"/>
                      <a:pt x="92" y="163"/>
                    </a:cubicBezTo>
                    <a:cubicBezTo>
                      <a:pt x="98" y="163"/>
                      <a:pt x="108" y="168"/>
                      <a:pt x="112" y="162"/>
                    </a:cubicBezTo>
                    <a:cubicBezTo>
                      <a:pt x="122" y="143"/>
                      <a:pt x="108" y="89"/>
                      <a:pt x="113" y="69"/>
                    </a:cubicBezTo>
                    <a:close/>
                    <a:moveTo>
                      <a:pt x="106" y="156"/>
                    </a:moveTo>
                    <a:cubicBezTo>
                      <a:pt x="76" y="154"/>
                      <a:pt x="56" y="156"/>
                      <a:pt x="25" y="156"/>
                    </a:cubicBezTo>
                    <a:cubicBezTo>
                      <a:pt x="12" y="137"/>
                      <a:pt x="18" y="108"/>
                      <a:pt x="16" y="83"/>
                    </a:cubicBezTo>
                    <a:cubicBezTo>
                      <a:pt x="19" y="84"/>
                      <a:pt x="21" y="75"/>
                      <a:pt x="23" y="80"/>
                    </a:cubicBezTo>
                    <a:cubicBezTo>
                      <a:pt x="50" y="77"/>
                      <a:pt x="82" y="84"/>
                      <a:pt x="106" y="90"/>
                    </a:cubicBezTo>
                    <a:cubicBezTo>
                      <a:pt x="108" y="114"/>
                      <a:pt x="106" y="133"/>
                      <a:pt x="106" y="156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prstClr val="black"/>
                  </a:solidFill>
                </a:endParaRPr>
              </a:p>
            </p:txBody>
          </p:sp>
        </p:grpSp>
      </p:grpSp>
      <p:pic>
        <p:nvPicPr>
          <p:cNvPr id="4" name="Afbeelding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975" y="4337050"/>
            <a:ext cx="2548349" cy="755970"/>
          </a:xfrm>
          <a:prstGeom prst="rect">
            <a:avLst/>
          </a:prstGeom>
        </p:spPr>
      </p:pic>
      <p:pic>
        <p:nvPicPr>
          <p:cNvPr id="5" name="Afbeelding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2325" y="4337050"/>
            <a:ext cx="1975275" cy="755970"/>
          </a:xfrm>
          <a:prstGeom prst="rect">
            <a:avLst/>
          </a:prstGeom>
        </p:spPr>
      </p:pic>
      <p:pic>
        <p:nvPicPr>
          <p:cNvPr id="6" name="Afbeelding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9096" y="4337050"/>
            <a:ext cx="2621507" cy="7559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6142874"/>
      </p:ext>
    </p:extLst>
  </p:cSld>
  <p:clrMapOvr>
    <a:masterClrMapping/>
  </p:clrMapOvr>
  <p:transition advTm="1000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3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3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896"/>
            <a:ext cx="12192000" cy="6856207"/>
          </a:xfrm>
          <a:prstGeom prst="rect">
            <a:avLst/>
          </a:prstGeom>
        </p:spPr>
      </p:pic>
      <p:sp>
        <p:nvSpPr>
          <p:cNvPr id="5" name="Tekstvak 4"/>
          <p:cNvSpPr txBox="1"/>
          <p:nvPr/>
        </p:nvSpPr>
        <p:spPr>
          <a:xfrm>
            <a:off x="150470" y="208342"/>
            <a:ext cx="1204153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chemeClr val="bg1"/>
                </a:solidFill>
                <a:latin typeface="Calibri Light" pitchFamily="34" charset="0"/>
              </a:rPr>
              <a:t>Metropolitan cities with enormous </a:t>
            </a:r>
            <a:r>
              <a:rPr lang="en-US" sz="4000" b="1" i="1" dirty="0">
                <a:solidFill>
                  <a:schemeClr val="accent6"/>
                </a:solidFill>
                <a:latin typeface="Calibri Light" pitchFamily="34" charset="0"/>
              </a:rPr>
              <a:t>SMOG</a:t>
            </a:r>
            <a:r>
              <a:rPr lang="en-US" sz="4000" dirty="0">
                <a:solidFill>
                  <a:schemeClr val="accent6"/>
                </a:solidFill>
                <a:latin typeface="Calibri Light" pitchFamily="34" charset="0"/>
              </a:rPr>
              <a:t> </a:t>
            </a:r>
            <a:r>
              <a:rPr lang="en-US" sz="4000" dirty="0">
                <a:solidFill>
                  <a:schemeClr val="bg1"/>
                </a:solidFill>
                <a:latin typeface="Calibri Light" pitchFamily="34" charset="0"/>
              </a:rPr>
              <a:t>problems</a:t>
            </a:r>
            <a:endParaRPr lang="nl-NL" sz="4000" dirty="0">
              <a:solidFill>
                <a:schemeClr val="bg1"/>
              </a:solidFill>
              <a:latin typeface="Calibri Ligh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4963949"/>
      </p:ext>
    </p:extLst>
  </p:cSld>
  <p:clrMapOvr>
    <a:masterClrMapping/>
  </p:clrMapOvr>
  <p:transition spd="slow" advTm="7000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/>
          <p:cNvPicPr>
            <a:picLocks noChangeAspect="1"/>
          </p:cNvPicPr>
          <p:nvPr/>
        </p:nvPicPr>
        <p:blipFill>
          <a:blip r:embed="rId2" cstate="print"/>
          <a:srcRect b="15410"/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5" name="Tekstvak 4"/>
          <p:cNvSpPr txBox="1"/>
          <p:nvPr/>
        </p:nvSpPr>
        <p:spPr>
          <a:xfrm>
            <a:off x="150470" y="208342"/>
            <a:ext cx="1204153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chemeClr val="bg1"/>
                </a:solidFill>
                <a:latin typeface="Calibri Light" pitchFamily="34" charset="0"/>
              </a:rPr>
              <a:t>If we do </a:t>
            </a:r>
            <a:r>
              <a:rPr lang="en-US" sz="4000" b="1" i="1" dirty="0">
                <a:solidFill>
                  <a:schemeClr val="accent6"/>
                </a:solidFill>
                <a:latin typeface="Calibri Light" pitchFamily="34" charset="0"/>
              </a:rPr>
              <a:t>nothing</a:t>
            </a:r>
            <a:r>
              <a:rPr lang="en-US" sz="4000" dirty="0">
                <a:solidFill>
                  <a:schemeClr val="bg1"/>
                </a:solidFill>
                <a:latin typeface="Calibri Light" pitchFamily="34" charset="0"/>
              </a:rPr>
              <a:t>, this is our future Worldwide……..</a:t>
            </a:r>
            <a:endParaRPr lang="nl-NL" sz="4000" dirty="0">
              <a:solidFill>
                <a:schemeClr val="bg1"/>
              </a:solidFill>
              <a:latin typeface="Calibri Ligh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4963949"/>
      </p:ext>
    </p:extLst>
  </p:cSld>
  <p:clrMapOvr>
    <a:masterClrMapping/>
  </p:clrMapOvr>
  <p:transition spd="slow" advTm="7000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Tijdelijke aanduiding voor inhoud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464175" y="1229711"/>
            <a:ext cx="6162455" cy="4028090"/>
          </a:xfrm>
          <a:prstGeom prst="rect">
            <a:avLst/>
          </a:prstGeom>
        </p:spPr>
      </p:pic>
      <p:sp>
        <p:nvSpPr>
          <p:cNvPr id="6" name="Tijdelijke aanduiding voor tekst 5"/>
          <p:cNvSpPr>
            <a:spLocks noGrp="1"/>
          </p:cNvSpPr>
          <p:nvPr>
            <p:ph type="body" sz="half" idx="2"/>
          </p:nvPr>
        </p:nvSpPr>
        <p:spPr/>
        <p:txBody>
          <a:bodyPr>
            <a:normAutofit/>
          </a:bodyPr>
          <a:lstStyle/>
          <a:p>
            <a:endParaRPr lang="nl-NL" sz="4000" dirty="0">
              <a:solidFill>
                <a:schemeClr val="bg1"/>
              </a:solidFill>
            </a:endParaRPr>
          </a:p>
          <a:p>
            <a:r>
              <a:rPr lang="nl-NL" sz="4000" dirty="0" err="1">
                <a:solidFill>
                  <a:schemeClr val="bg1"/>
                </a:solidFill>
              </a:rPr>
              <a:t>Collective</a:t>
            </a:r>
            <a:r>
              <a:rPr lang="nl-NL" sz="4000" dirty="0">
                <a:solidFill>
                  <a:schemeClr val="bg1"/>
                </a:solidFill>
              </a:rPr>
              <a:t>  &amp;</a:t>
            </a:r>
          </a:p>
          <a:p>
            <a:r>
              <a:rPr lang="nl-NL" sz="4000" dirty="0" err="1">
                <a:solidFill>
                  <a:schemeClr val="bg1"/>
                </a:solidFill>
              </a:rPr>
              <a:t>Participation</a:t>
            </a:r>
            <a:endParaRPr lang="nl-NL" sz="4000" dirty="0">
              <a:solidFill>
                <a:schemeClr val="bg1"/>
              </a:solidFill>
            </a:endParaRPr>
          </a:p>
          <a:p>
            <a:endParaRPr lang="nl-NL" sz="4000" dirty="0">
              <a:solidFill>
                <a:schemeClr val="bg1"/>
              </a:solidFill>
            </a:endParaRPr>
          </a:p>
          <a:p>
            <a:r>
              <a:rPr lang="nl-NL" sz="4000" dirty="0" err="1">
                <a:solidFill>
                  <a:schemeClr val="bg1"/>
                </a:solidFill>
              </a:rPr>
              <a:t>Started</a:t>
            </a:r>
            <a:r>
              <a:rPr lang="nl-NL" sz="4000" dirty="0">
                <a:solidFill>
                  <a:schemeClr val="bg1"/>
                </a:solidFill>
              </a:rPr>
              <a:t> at 2015</a:t>
            </a:r>
          </a:p>
          <a:p>
            <a:endParaRPr lang="nl-NL" sz="4000" dirty="0">
              <a:solidFill>
                <a:schemeClr val="bg1"/>
              </a:solidFill>
            </a:endParaRPr>
          </a:p>
        </p:txBody>
      </p:sp>
      <p:sp>
        <p:nvSpPr>
          <p:cNvPr id="7" name="Titel 6"/>
          <p:cNvSpPr txBox="1">
            <a:spLocks noGrp="1"/>
          </p:cNvSpPr>
          <p:nvPr>
            <p:ph type="title"/>
          </p:nvPr>
        </p:nvSpPr>
        <p:spPr>
          <a:xfrm>
            <a:off x="315310" y="136874"/>
            <a:ext cx="4456715" cy="19205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6600" dirty="0" err="1">
                <a:solidFill>
                  <a:schemeClr val="bg1"/>
                </a:solidFill>
                <a:latin typeface="Calibri Light" pitchFamily="34" charset="0"/>
              </a:rPr>
              <a:t>Our</a:t>
            </a:r>
            <a:r>
              <a:rPr lang="nl-NL" sz="6600" dirty="0">
                <a:solidFill>
                  <a:schemeClr val="bg1"/>
                </a:solidFill>
                <a:latin typeface="Calibri Light" pitchFamily="34" charset="0"/>
              </a:rPr>
              <a:t> new </a:t>
            </a:r>
            <a:r>
              <a:rPr lang="nl-NL" sz="6600" dirty="0" err="1">
                <a:solidFill>
                  <a:schemeClr val="accent6"/>
                </a:solidFill>
                <a:latin typeface="Calibri Light" pitchFamily="34" charset="0"/>
              </a:rPr>
              <a:t>enemy</a:t>
            </a:r>
            <a:r>
              <a:rPr lang="nl-NL" sz="6600" dirty="0">
                <a:solidFill>
                  <a:schemeClr val="accent6"/>
                </a:solidFill>
                <a:latin typeface="Calibri Light" pitchFamily="34" charset="0"/>
              </a:rPr>
              <a:t>….</a:t>
            </a:r>
            <a:endParaRPr lang="nl-NL" sz="4800" dirty="0">
              <a:solidFill>
                <a:schemeClr val="bg1"/>
              </a:solidFill>
              <a:latin typeface="Calibri Light" pitchFamily="34" charset="0"/>
            </a:endParaRPr>
          </a:p>
        </p:txBody>
      </p:sp>
      <p:pic>
        <p:nvPicPr>
          <p:cNvPr id="8" name="Picture 1" descr="D:\Projecten\AB_de Stelling\Logo\Logo de stelling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39788" y="3977926"/>
            <a:ext cx="3317391" cy="6661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91158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Tm="20000"/>
    </mc:Choice>
    <mc:Fallback xmlns="">
      <p:transition advTm="20000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kstvak 3"/>
          <p:cNvSpPr txBox="1"/>
          <p:nvPr/>
        </p:nvSpPr>
        <p:spPr>
          <a:xfrm>
            <a:off x="1122744" y="2210758"/>
            <a:ext cx="982690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6600" dirty="0">
                <a:solidFill>
                  <a:schemeClr val="bg1"/>
                </a:solidFill>
                <a:latin typeface="Calibri Light" pitchFamily="34" charset="0"/>
              </a:rPr>
              <a:t>The Dutch </a:t>
            </a:r>
            <a:r>
              <a:rPr lang="nl-NL" sz="6600" dirty="0" err="1">
                <a:solidFill>
                  <a:schemeClr val="accent6"/>
                </a:solidFill>
                <a:latin typeface="Calibri Light" pitchFamily="34" charset="0"/>
              </a:rPr>
              <a:t>Solution</a:t>
            </a:r>
            <a:r>
              <a:rPr lang="nl-NL" sz="6600" dirty="0">
                <a:solidFill>
                  <a:schemeClr val="accent6"/>
                </a:solidFill>
                <a:latin typeface="Calibri Light" pitchFamily="34" charset="0"/>
              </a:rPr>
              <a:t>:</a:t>
            </a:r>
          </a:p>
          <a:p>
            <a:pPr algn="ctr"/>
            <a:r>
              <a:rPr lang="nl-NL" sz="6600" dirty="0">
                <a:solidFill>
                  <a:schemeClr val="accent6"/>
                </a:solidFill>
                <a:latin typeface="Calibri Light" pitchFamily="34" charset="0"/>
              </a:rPr>
              <a:t>PLANTS </a:t>
            </a:r>
            <a:r>
              <a:rPr lang="nl-NL" sz="6600" dirty="0">
                <a:solidFill>
                  <a:schemeClr val="bg1"/>
                </a:solidFill>
                <a:latin typeface="Calibri Light" pitchFamily="34" charset="0"/>
              </a:rPr>
              <a:t>of the </a:t>
            </a:r>
            <a:r>
              <a:rPr lang="nl-NL" sz="6600" dirty="0" err="1">
                <a:solidFill>
                  <a:schemeClr val="bg1"/>
                </a:solidFill>
                <a:latin typeface="Calibri Light" pitchFamily="34" charset="0"/>
              </a:rPr>
              <a:t>Future</a:t>
            </a:r>
            <a:endParaRPr lang="nl-NL" sz="4800" dirty="0">
              <a:solidFill>
                <a:schemeClr val="bg1"/>
              </a:solidFill>
              <a:latin typeface="Calibri Light" pitchFamily="34" charset="0"/>
            </a:endParaRPr>
          </a:p>
        </p:txBody>
      </p:sp>
      <p:pic>
        <p:nvPicPr>
          <p:cNvPr id="47105" name="Picture 1" descr="D:\Projecten\AB_de Stelling\Logo\Logo de stelling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332685" y="6130311"/>
            <a:ext cx="2648081" cy="5317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91259293"/>
      </p:ext>
    </p:extLst>
  </p:cSld>
  <p:clrMapOvr>
    <a:masterClrMapping/>
  </p:clrMapOvr>
  <p:transition spd="med" advTm="5000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4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Afbeelding 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82" b="13763"/>
          <a:stretch/>
        </p:blipFill>
        <p:spPr>
          <a:xfrm>
            <a:off x="0" y="0"/>
            <a:ext cx="12203481" cy="6858000"/>
          </a:xfrm>
          <a:prstGeom prst="rect">
            <a:avLst/>
          </a:prstGeom>
        </p:spPr>
      </p:pic>
      <p:sp>
        <p:nvSpPr>
          <p:cNvPr id="5" name="Rechthoek 4"/>
          <p:cNvSpPr/>
          <p:nvPr/>
        </p:nvSpPr>
        <p:spPr>
          <a:xfrm>
            <a:off x="0" y="2578100"/>
            <a:ext cx="12203481" cy="4279900"/>
          </a:xfrm>
          <a:prstGeom prst="rect">
            <a:avLst/>
          </a:prstGeom>
          <a:solidFill>
            <a:srgbClr val="00000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6" name="Tekstvak 5"/>
          <p:cNvSpPr txBox="1"/>
          <p:nvPr/>
        </p:nvSpPr>
        <p:spPr>
          <a:xfrm>
            <a:off x="995427" y="2801071"/>
            <a:ext cx="10058400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600" dirty="0">
                <a:solidFill>
                  <a:schemeClr val="bg1"/>
                </a:solidFill>
                <a:latin typeface="Calibri Light" pitchFamily="34" charset="0"/>
              </a:rPr>
              <a:t>Our first </a:t>
            </a:r>
            <a:r>
              <a:rPr lang="en-US" sz="6600" b="1" i="1" dirty="0">
                <a:solidFill>
                  <a:schemeClr val="accent6"/>
                </a:solidFill>
                <a:latin typeface="Calibri Light" pitchFamily="34" charset="0"/>
              </a:rPr>
              <a:t>GREENHOUSE</a:t>
            </a:r>
            <a:r>
              <a:rPr lang="en-US" sz="6600" dirty="0">
                <a:solidFill>
                  <a:schemeClr val="bg1"/>
                </a:solidFill>
                <a:latin typeface="Calibri Light" pitchFamily="34" charset="0"/>
              </a:rPr>
              <a:t> </a:t>
            </a:r>
          </a:p>
          <a:p>
            <a:pPr algn="ctr"/>
            <a:r>
              <a:rPr lang="en-US" sz="6600" dirty="0">
                <a:solidFill>
                  <a:schemeClr val="bg1"/>
                </a:solidFill>
                <a:latin typeface="Calibri Light" pitchFamily="34" charset="0"/>
              </a:rPr>
              <a:t>is filled with special plants</a:t>
            </a:r>
            <a:endParaRPr lang="nl-NL" sz="4800" dirty="0">
              <a:solidFill>
                <a:schemeClr val="bg1"/>
              </a:solidFill>
              <a:latin typeface="Calibri Light" pitchFamily="34" charset="0"/>
            </a:endParaRPr>
          </a:p>
        </p:txBody>
      </p:sp>
      <p:pic>
        <p:nvPicPr>
          <p:cNvPr id="8" name="Picture 1" descr="D:\Projecten\AB_de Stelling\Logo\Logo de stelling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9332685" y="6130311"/>
            <a:ext cx="2648081" cy="5317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25538186"/>
      </p:ext>
    </p:extLst>
  </p:cSld>
  <p:clrMapOvr>
    <a:masterClrMapping/>
  </p:clrMapOvr>
  <p:transition spd="slow" advTm="1000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C:\Users\HVISSER\Documents\feedstock2012_2013\roadsidedust\sample 3\Sample3-01_q014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370" y="2384385"/>
            <a:ext cx="3717260" cy="2064395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11" descr="C:\Users\HVISSER\Documents\feedstock2012\roadsidedust\sample 1\Sample1-02_q006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4003" y="2418366"/>
            <a:ext cx="3695906" cy="200984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12" descr="C:\Users\HVISSER\Documents\feedstock2012\roadsidedust\sample 1\Sample1-03_q007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9831" y="2324962"/>
            <a:ext cx="3720341" cy="2124532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kstvak 7"/>
          <p:cNvSpPr txBox="1"/>
          <p:nvPr/>
        </p:nvSpPr>
        <p:spPr>
          <a:xfrm>
            <a:off x="3071150" y="4982903"/>
            <a:ext cx="967643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These leaves </a:t>
            </a:r>
            <a:r>
              <a:rPr lang="en-US" sz="3200" dirty="0">
                <a:solidFill>
                  <a:schemeClr val="accent6"/>
                </a:solidFill>
              </a:rPr>
              <a:t>capture CO2 </a:t>
            </a:r>
          </a:p>
          <a:p>
            <a:r>
              <a:rPr lang="en-US" sz="3200" dirty="0">
                <a:solidFill>
                  <a:schemeClr val="bg1"/>
                </a:solidFill>
              </a:rPr>
              <a:t>                     </a:t>
            </a:r>
            <a:r>
              <a:rPr lang="en-US" sz="3200" dirty="0">
                <a:solidFill>
                  <a:schemeClr val="accent6"/>
                </a:solidFill>
              </a:rPr>
              <a:t>and</a:t>
            </a:r>
            <a:r>
              <a:rPr lang="en-US" sz="3200" dirty="0">
                <a:solidFill>
                  <a:schemeClr val="bg1"/>
                </a:solidFill>
              </a:rPr>
              <a:t> the hairs capture a lot of </a:t>
            </a:r>
            <a:r>
              <a:rPr lang="en-US" sz="3200" dirty="0">
                <a:solidFill>
                  <a:schemeClr val="accent6"/>
                </a:solidFill>
              </a:rPr>
              <a:t>small dust </a:t>
            </a:r>
            <a:endParaRPr lang="nl-NL" sz="3200" dirty="0">
              <a:solidFill>
                <a:schemeClr val="accent6"/>
              </a:solidFill>
            </a:endParaRPr>
          </a:p>
        </p:txBody>
      </p:sp>
      <p:sp>
        <p:nvSpPr>
          <p:cNvPr id="10" name="Tekstvak 9"/>
          <p:cNvSpPr txBox="1"/>
          <p:nvPr/>
        </p:nvSpPr>
        <p:spPr>
          <a:xfrm>
            <a:off x="401255" y="1255854"/>
            <a:ext cx="1257451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Specially cultivated plants </a:t>
            </a:r>
            <a:r>
              <a:rPr lang="en-US" sz="3200" dirty="0">
                <a:solidFill>
                  <a:schemeClr val="bg1"/>
                </a:solidFill>
                <a:sym typeface="Wingdings" pitchFamily="2" charset="2"/>
              </a:rPr>
              <a:t>have leaves with a lot of </a:t>
            </a:r>
            <a:r>
              <a:rPr lang="en-US" sz="3200" dirty="0">
                <a:solidFill>
                  <a:schemeClr val="accent6"/>
                </a:solidFill>
                <a:sym typeface="Wingdings" pitchFamily="2" charset="2"/>
              </a:rPr>
              <a:t>hair</a:t>
            </a:r>
            <a:endParaRPr lang="nl-NL" sz="3200" dirty="0">
              <a:solidFill>
                <a:schemeClr val="accent6"/>
              </a:solidFill>
            </a:endParaRPr>
          </a:p>
        </p:txBody>
      </p:sp>
    </p:spTree>
  </p:cSld>
  <p:clrMapOvr>
    <a:masterClrMapping/>
  </p:clrMapOvr>
  <p:transition advTm="14000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16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kstvak 10"/>
          <p:cNvSpPr txBox="1"/>
          <p:nvPr/>
        </p:nvSpPr>
        <p:spPr>
          <a:xfrm>
            <a:off x="1963845" y="6203279"/>
            <a:ext cx="459661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Regular plants				 	</a:t>
            </a:r>
            <a:endParaRPr lang="nl-NL" sz="3200" dirty="0">
              <a:solidFill>
                <a:schemeClr val="bg1"/>
              </a:solidFill>
            </a:endParaRPr>
          </a:p>
        </p:txBody>
      </p:sp>
      <p:sp>
        <p:nvSpPr>
          <p:cNvPr id="12" name="Tekstvak 11"/>
          <p:cNvSpPr txBox="1"/>
          <p:nvPr/>
        </p:nvSpPr>
        <p:spPr>
          <a:xfrm>
            <a:off x="7595386" y="6203279"/>
            <a:ext cx="459661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Specially cultivated plants</a:t>
            </a:r>
            <a:endParaRPr lang="nl-NL" sz="3200" dirty="0">
              <a:solidFill>
                <a:schemeClr val="bg1"/>
              </a:solidFill>
            </a:endParaRPr>
          </a:p>
        </p:txBody>
      </p:sp>
      <p:sp>
        <p:nvSpPr>
          <p:cNvPr id="14" name="Tekstvak 13"/>
          <p:cNvSpPr txBox="1"/>
          <p:nvPr/>
        </p:nvSpPr>
        <p:spPr>
          <a:xfrm rot="16200000">
            <a:off x="-3050045" y="3013501"/>
            <a:ext cx="6858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dirty="0">
                <a:solidFill>
                  <a:schemeClr val="bg1"/>
                </a:solidFill>
              </a:rPr>
              <a:t>TEST AREA</a:t>
            </a:r>
            <a:r>
              <a:rPr lang="nl-NL" sz="4800" dirty="0">
                <a:solidFill>
                  <a:schemeClr val="bg1"/>
                </a:solidFill>
              </a:rPr>
              <a:t>: BENELUXBAAN</a:t>
            </a:r>
          </a:p>
        </p:txBody>
      </p:sp>
      <p:pic>
        <p:nvPicPr>
          <p:cNvPr id="13" name="Picture 2" descr="C:\Users\Tonsf\Pictures\777Ecorridors\Duurzame teelten\Beneluxbaan foto's hoogwerker\DSC_2525.JPG"/>
          <p:cNvPicPr>
            <a:picLocks noGrp="1" noChangeAspect="1" noChangeArrowheads="1"/>
          </p:cNvPicPr>
          <p:nvPr>
            <p:ph idx="1"/>
          </p:nvPr>
        </p:nvPicPr>
        <p:blipFill>
          <a:blip r:embed="rId6" cstate="print"/>
          <a:srcRect t="8903" b="4181"/>
          <a:stretch>
            <a:fillRect/>
          </a:stretch>
        </p:blipFill>
        <p:spPr bwMode="auto">
          <a:xfrm>
            <a:off x="2457103" y="1963818"/>
            <a:ext cx="7277793" cy="40749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itel 14"/>
          <p:cNvSpPr txBox="1">
            <a:spLocks noGrp="1"/>
          </p:cNvSpPr>
          <p:nvPr>
            <p:ph type="title"/>
          </p:nvPr>
        </p:nvSpPr>
        <p:spPr>
          <a:xfrm>
            <a:off x="2979682" y="538542"/>
            <a:ext cx="8374117" cy="9787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Specially cultivated </a:t>
            </a:r>
            <a:r>
              <a:rPr lang="en-US" sz="3200" dirty="0">
                <a:solidFill>
                  <a:schemeClr val="accent6"/>
                </a:solidFill>
              </a:rPr>
              <a:t>native plants </a:t>
            </a:r>
            <a:r>
              <a:rPr lang="en-US" sz="3200" dirty="0">
                <a:solidFill>
                  <a:schemeClr val="bg1"/>
                </a:solidFill>
              </a:rPr>
              <a:t>with</a:t>
            </a:r>
          </a:p>
          <a:p>
            <a:r>
              <a:rPr lang="en-US" sz="3200" dirty="0">
                <a:solidFill>
                  <a:schemeClr val="bg1"/>
                </a:solidFill>
              </a:rPr>
              <a:t>new growth properties for the future</a:t>
            </a:r>
            <a:endParaRPr lang="nl-NL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1938091"/>
      </p:ext>
    </p:extLst>
  </p:cSld>
  <p:clrMapOvr>
    <a:masterClrMapping/>
  </p:clrMapOvr>
  <p:transition spd="slow" advTm="10000"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8178" y="409903"/>
            <a:ext cx="9585435" cy="5959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1170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4000"/>
    </mc:Choice>
    <mc:Fallback xmlns="">
      <p:transition spd="slow" advTm="14000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38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Afbeelding 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07" b="7707"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6" name="Rechthoek 5"/>
          <p:cNvSpPr/>
          <p:nvPr/>
        </p:nvSpPr>
        <p:spPr>
          <a:xfrm>
            <a:off x="4641448" y="5173884"/>
            <a:ext cx="7176303" cy="1493134"/>
          </a:xfrm>
          <a:prstGeom prst="rect">
            <a:avLst/>
          </a:prstGeom>
          <a:solidFill>
            <a:schemeClr val="tx1">
              <a:alpha val="59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8" name="Tekstvak 7"/>
          <p:cNvSpPr txBox="1"/>
          <p:nvPr/>
        </p:nvSpPr>
        <p:spPr>
          <a:xfrm>
            <a:off x="5011843" y="5393803"/>
            <a:ext cx="1020887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The special plants </a:t>
            </a:r>
            <a:r>
              <a:rPr lang="en-US" sz="3200" dirty="0">
                <a:solidFill>
                  <a:schemeClr val="accent6"/>
                </a:solidFill>
              </a:rPr>
              <a:t>GROWS</a:t>
            </a:r>
            <a:r>
              <a:rPr lang="en-US" sz="3200" dirty="0">
                <a:solidFill>
                  <a:schemeClr val="bg1"/>
                </a:solidFill>
              </a:rPr>
              <a:t> three times </a:t>
            </a:r>
          </a:p>
          <a:p>
            <a:r>
              <a:rPr lang="en-US" sz="3200" dirty="0">
                <a:solidFill>
                  <a:schemeClr val="bg1"/>
                </a:solidFill>
              </a:rPr>
              <a:t>faster then regular plants….</a:t>
            </a:r>
            <a:endParaRPr lang="nl-NL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0449349"/>
      </p:ext>
    </p:extLst>
  </p:cSld>
  <p:clrMapOvr>
    <a:masterClrMapping/>
  </p:clrMapOvr>
  <p:transition spd="slow" advTm="10000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917710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Picture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Afbeelding 3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075"/>
          <a:stretch/>
        </p:blipFill>
        <p:spPr>
          <a:xfrm>
            <a:off x="1608350" y="1"/>
            <a:ext cx="8975301" cy="6858000"/>
          </a:xfrm>
          <a:prstGeom prst="rect">
            <a:avLst/>
          </a:prstGeom>
        </p:spPr>
      </p:pic>
      <p:sp>
        <p:nvSpPr>
          <p:cNvPr id="9" name="Freeform 5"/>
          <p:cNvSpPr>
            <a:spLocks/>
          </p:cNvSpPr>
          <p:nvPr/>
        </p:nvSpPr>
        <p:spPr bwMode="auto">
          <a:xfrm>
            <a:off x="4297363" y="873125"/>
            <a:ext cx="4633912" cy="5484813"/>
          </a:xfrm>
          <a:custGeom>
            <a:avLst/>
            <a:gdLst>
              <a:gd name="T0" fmla="*/ 2615 w 2919"/>
              <a:gd name="T1" fmla="*/ 300 h 3455"/>
              <a:gd name="T2" fmla="*/ 2326 w 2919"/>
              <a:gd name="T3" fmla="*/ 172 h 3455"/>
              <a:gd name="T4" fmla="*/ 2002 w 2919"/>
              <a:gd name="T5" fmla="*/ 182 h 3455"/>
              <a:gd name="T6" fmla="*/ 1782 w 2919"/>
              <a:gd name="T7" fmla="*/ 300 h 3455"/>
              <a:gd name="T8" fmla="*/ 1602 w 2919"/>
              <a:gd name="T9" fmla="*/ 246 h 3455"/>
              <a:gd name="T10" fmla="*/ 1430 w 2919"/>
              <a:gd name="T11" fmla="*/ 182 h 3455"/>
              <a:gd name="T12" fmla="*/ 1243 w 2919"/>
              <a:gd name="T13" fmla="*/ 0 h 3455"/>
              <a:gd name="T14" fmla="*/ 849 w 2919"/>
              <a:gd name="T15" fmla="*/ 86 h 3455"/>
              <a:gd name="T16" fmla="*/ 629 w 2919"/>
              <a:gd name="T17" fmla="*/ 224 h 3455"/>
              <a:gd name="T18" fmla="*/ 603 w 2919"/>
              <a:gd name="T19" fmla="*/ 342 h 3455"/>
              <a:gd name="T20" fmla="*/ 432 w 2919"/>
              <a:gd name="T21" fmla="*/ 480 h 3455"/>
              <a:gd name="T22" fmla="*/ 324 w 2919"/>
              <a:gd name="T23" fmla="*/ 480 h 3455"/>
              <a:gd name="T24" fmla="*/ 186 w 2919"/>
              <a:gd name="T25" fmla="*/ 935 h 3455"/>
              <a:gd name="T26" fmla="*/ 186 w 2919"/>
              <a:gd name="T27" fmla="*/ 993 h 3455"/>
              <a:gd name="T28" fmla="*/ 122 w 2919"/>
              <a:gd name="T29" fmla="*/ 1313 h 3455"/>
              <a:gd name="T30" fmla="*/ 132 w 2919"/>
              <a:gd name="T31" fmla="*/ 1645 h 3455"/>
              <a:gd name="T32" fmla="*/ 218 w 2919"/>
              <a:gd name="T33" fmla="*/ 1800 h 3455"/>
              <a:gd name="T34" fmla="*/ 112 w 2919"/>
              <a:gd name="T35" fmla="*/ 2018 h 3455"/>
              <a:gd name="T36" fmla="*/ 84 w 2919"/>
              <a:gd name="T37" fmla="*/ 2104 h 3455"/>
              <a:gd name="T38" fmla="*/ 106 w 2919"/>
              <a:gd name="T39" fmla="*/ 2440 h 3455"/>
              <a:gd name="T40" fmla="*/ 320 w 2919"/>
              <a:gd name="T41" fmla="*/ 2802 h 3455"/>
              <a:gd name="T42" fmla="*/ 545 w 2919"/>
              <a:gd name="T43" fmla="*/ 3001 h 3455"/>
              <a:gd name="T44" fmla="*/ 613 w 2919"/>
              <a:gd name="T45" fmla="*/ 3059 h 3455"/>
              <a:gd name="T46" fmla="*/ 667 w 2919"/>
              <a:gd name="T47" fmla="*/ 3215 h 3455"/>
              <a:gd name="T48" fmla="*/ 869 w 2919"/>
              <a:gd name="T49" fmla="*/ 3215 h 3455"/>
              <a:gd name="T50" fmla="*/ 1089 w 2919"/>
              <a:gd name="T51" fmla="*/ 3321 h 3455"/>
              <a:gd name="T52" fmla="*/ 1233 w 2919"/>
              <a:gd name="T53" fmla="*/ 3455 h 3455"/>
              <a:gd name="T54" fmla="*/ 1474 w 2919"/>
              <a:gd name="T55" fmla="*/ 3225 h 3455"/>
              <a:gd name="T56" fmla="*/ 1718 w 2919"/>
              <a:gd name="T57" fmla="*/ 3203 h 3455"/>
              <a:gd name="T58" fmla="*/ 1868 w 2919"/>
              <a:gd name="T59" fmla="*/ 3001 h 3455"/>
              <a:gd name="T60" fmla="*/ 2182 w 2919"/>
              <a:gd name="T61" fmla="*/ 2995 h 3455"/>
              <a:gd name="T62" fmla="*/ 2326 w 2919"/>
              <a:gd name="T63" fmla="*/ 2910 h 3455"/>
              <a:gd name="T64" fmla="*/ 2733 w 2919"/>
              <a:gd name="T65" fmla="*/ 2830 h 3455"/>
              <a:gd name="T66" fmla="*/ 2647 w 2919"/>
              <a:gd name="T67" fmla="*/ 2578 h 3455"/>
              <a:gd name="T68" fmla="*/ 2803 w 2919"/>
              <a:gd name="T69" fmla="*/ 2350 h 3455"/>
              <a:gd name="T70" fmla="*/ 2797 w 2919"/>
              <a:gd name="T71" fmla="*/ 1954 h 3455"/>
              <a:gd name="T72" fmla="*/ 2413 w 2919"/>
              <a:gd name="T73" fmla="*/ 1880 h 34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919" h="3455">
                <a:moveTo>
                  <a:pt x="2787" y="252"/>
                </a:moveTo>
                <a:lnTo>
                  <a:pt x="2615" y="300"/>
                </a:lnTo>
                <a:lnTo>
                  <a:pt x="2419" y="112"/>
                </a:lnTo>
                <a:lnTo>
                  <a:pt x="2326" y="172"/>
                </a:lnTo>
                <a:lnTo>
                  <a:pt x="2028" y="64"/>
                </a:lnTo>
                <a:lnTo>
                  <a:pt x="2002" y="182"/>
                </a:lnTo>
                <a:lnTo>
                  <a:pt x="1846" y="128"/>
                </a:lnTo>
                <a:lnTo>
                  <a:pt x="1782" y="300"/>
                </a:lnTo>
                <a:lnTo>
                  <a:pt x="1686" y="246"/>
                </a:lnTo>
                <a:lnTo>
                  <a:pt x="1602" y="246"/>
                </a:lnTo>
                <a:lnTo>
                  <a:pt x="1522" y="224"/>
                </a:lnTo>
                <a:lnTo>
                  <a:pt x="1430" y="182"/>
                </a:lnTo>
                <a:lnTo>
                  <a:pt x="1243" y="128"/>
                </a:lnTo>
                <a:lnTo>
                  <a:pt x="1243" y="0"/>
                </a:lnTo>
                <a:lnTo>
                  <a:pt x="1089" y="96"/>
                </a:lnTo>
                <a:lnTo>
                  <a:pt x="849" y="86"/>
                </a:lnTo>
                <a:lnTo>
                  <a:pt x="805" y="268"/>
                </a:lnTo>
                <a:lnTo>
                  <a:pt x="629" y="224"/>
                </a:lnTo>
                <a:lnTo>
                  <a:pt x="603" y="252"/>
                </a:lnTo>
                <a:lnTo>
                  <a:pt x="603" y="342"/>
                </a:lnTo>
                <a:lnTo>
                  <a:pt x="539" y="406"/>
                </a:lnTo>
                <a:lnTo>
                  <a:pt x="432" y="480"/>
                </a:lnTo>
                <a:lnTo>
                  <a:pt x="384" y="444"/>
                </a:lnTo>
                <a:lnTo>
                  <a:pt x="324" y="480"/>
                </a:lnTo>
                <a:lnTo>
                  <a:pt x="186" y="695"/>
                </a:lnTo>
                <a:lnTo>
                  <a:pt x="186" y="935"/>
                </a:lnTo>
                <a:lnTo>
                  <a:pt x="52" y="861"/>
                </a:lnTo>
                <a:lnTo>
                  <a:pt x="186" y="993"/>
                </a:lnTo>
                <a:lnTo>
                  <a:pt x="176" y="1101"/>
                </a:lnTo>
                <a:lnTo>
                  <a:pt x="122" y="1313"/>
                </a:lnTo>
                <a:lnTo>
                  <a:pt x="106" y="1431"/>
                </a:lnTo>
                <a:lnTo>
                  <a:pt x="132" y="1645"/>
                </a:lnTo>
                <a:lnTo>
                  <a:pt x="202" y="1713"/>
                </a:lnTo>
                <a:lnTo>
                  <a:pt x="218" y="1800"/>
                </a:lnTo>
                <a:lnTo>
                  <a:pt x="100" y="1912"/>
                </a:lnTo>
                <a:lnTo>
                  <a:pt x="112" y="2018"/>
                </a:lnTo>
                <a:lnTo>
                  <a:pt x="128" y="2072"/>
                </a:lnTo>
                <a:lnTo>
                  <a:pt x="84" y="2104"/>
                </a:lnTo>
                <a:lnTo>
                  <a:pt x="0" y="2158"/>
                </a:lnTo>
                <a:lnTo>
                  <a:pt x="106" y="2440"/>
                </a:lnTo>
                <a:lnTo>
                  <a:pt x="202" y="2638"/>
                </a:lnTo>
                <a:lnTo>
                  <a:pt x="320" y="2802"/>
                </a:lnTo>
                <a:lnTo>
                  <a:pt x="410" y="2898"/>
                </a:lnTo>
                <a:lnTo>
                  <a:pt x="545" y="3001"/>
                </a:lnTo>
                <a:lnTo>
                  <a:pt x="565" y="3059"/>
                </a:lnTo>
                <a:lnTo>
                  <a:pt x="613" y="3059"/>
                </a:lnTo>
                <a:lnTo>
                  <a:pt x="689" y="3119"/>
                </a:lnTo>
                <a:lnTo>
                  <a:pt x="667" y="3215"/>
                </a:lnTo>
                <a:lnTo>
                  <a:pt x="785" y="3215"/>
                </a:lnTo>
                <a:lnTo>
                  <a:pt x="869" y="3215"/>
                </a:lnTo>
                <a:lnTo>
                  <a:pt x="945" y="3215"/>
                </a:lnTo>
                <a:lnTo>
                  <a:pt x="1089" y="3321"/>
                </a:lnTo>
                <a:lnTo>
                  <a:pt x="1163" y="3395"/>
                </a:lnTo>
                <a:lnTo>
                  <a:pt x="1233" y="3455"/>
                </a:lnTo>
                <a:lnTo>
                  <a:pt x="1333" y="3337"/>
                </a:lnTo>
                <a:lnTo>
                  <a:pt x="1474" y="3225"/>
                </a:lnTo>
                <a:lnTo>
                  <a:pt x="1666" y="3215"/>
                </a:lnTo>
                <a:lnTo>
                  <a:pt x="1718" y="3203"/>
                </a:lnTo>
                <a:lnTo>
                  <a:pt x="1740" y="3123"/>
                </a:lnTo>
                <a:lnTo>
                  <a:pt x="1868" y="3001"/>
                </a:lnTo>
                <a:lnTo>
                  <a:pt x="2018" y="3139"/>
                </a:lnTo>
                <a:lnTo>
                  <a:pt x="2182" y="2995"/>
                </a:lnTo>
                <a:lnTo>
                  <a:pt x="2252" y="2888"/>
                </a:lnTo>
                <a:lnTo>
                  <a:pt x="2326" y="2910"/>
                </a:lnTo>
                <a:lnTo>
                  <a:pt x="2439" y="2920"/>
                </a:lnTo>
                <a:lnTo>
                  <a:pt x="2733" y="2830"/>
                </a:lnTo>
                <a:lnTo>
                  <a:pt x="2919" y="2734"/>
                </a:lnTo>
                <a:lnTo>
                  <a:pt x="2647" y="2578"/>
                </a:lnTo>
                <a:lnTo>
                  <a:pt x="2765" y="2386"/>
                </a:lnTo>
                <a:lnTo>
                  <a:pt x="2803" y="2350"/>
                </a:lnTo>
                <a:lnTo>
                  <a:pt x="2759" y="2264"/>
                </a:lnTo>
                <a:lnTo>
                  <a:pt x="2797" y="1954"/>
                </a:lnTo>
                <a:lnTo>
                  <a:pt x="2413" y="2178"/>
                </a:lnTo>
                <a:lnTo>
                  <a:pt x="2413" y="1880"/>
                </a:lnTo>
              </a:path>
            </a:pathLst>
          </a:custGeom>
          <a:noFill/>
          <a:ln w="57150" cap="flat">
            <a:solidFill>
              <a:schemeClr val="bg1"/>
            </a:solidFill>
            <a:prstDash val="solid"/>
            <a:miter lim="800000"/>
            <a:headEnd/>
            <a:tailEnd/>
          </a:ln>
          <a:effectLst>
            <a:glow rad="228600">
              <a:schemeClr val="accent6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0" name="vo">
            <a:hlinkClick r:id="" action="ppaction://media"/>
          </p:cNvPr>
          <p:cNvPicPr>
            <a:picLocks noChangeAspect="1"/>
          </p:cNvPicPr>
          <p:nvPr>
            <a:audioFile r:link="rId5"/>
            <p:extLst>
              <p:ext uri="{DAA4B4D4-6D71-4841-9C94-3DE7FCFB9230}">
                <p14:media xmlns:p14="http://schemas.microsoft.com/office/powerpoint/2010/main" r:embed="rId4"/>
              </p:ext>
            </p:extLst>
          </p:nvPr>
        </p:nvPicPr>
        <p:blipFill>
          <a:blip r:embed="rId10" cstate="print"/>
          <a:stretch>
            <a:fillRect/>
          </a:stretch>
        </p:blipFill>
        <p:spPr>
          <a:xfrm>
            <a:off x="1885627" y="-1401305"/>
            <a:ext cx="609600" cy="6096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270285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4378"/>
    </mc:Choice>
    <mc:Fallback xmlns="">
      <p:transition spd="slow" advTm="14378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" dur="5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2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2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 numSld="999">
                <p:cTn id="20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0"/>
                </p:tgtEl>
              </p:cMediaNode>
            </p:audio>
          </p:childTnLst>
        </p:cTn>
      </p:par>
    </p:tnLst>
    <p:bldLst>
      <p:bldP spid="9" grpId="0" animBg="1"/>
      <p:bldP spid="9" grpId="1" animBg="1"/>
    </p:bldLst>
  </p:timing>
  <p:extLst mod="1">
    <p:ext uri="{E180D4A7-C9FB-4DFB-919C-405C955672EB}">
      <p14:showEvtLst xmlns:p14="http://schemas.microsoft.com/office/powerpoint/2010/main">
        <p14:playEvt time="83" objId="10"/>
      </p14:showEvtLst>
    </p:ext>
  </p:extLs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 descr="De Groene Junk door Bas Kohler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757"/>
          <a:stretch>
            <a:fillRect/>
          </a:stretch>
        </p:blipFill>
        <p:spPr bwMode="auto">
          <a:xfrm>
            <a:off x="462988" y="45207"/>
            <a:ext cx="11319061" cy="681279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advTm="18000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kstvak 3"/>
          <p:cNvSpPr txBox="1"/>
          <p:nvPr/>
        </p:nvSpPr>
        <p:spPr>
          <a:xfrm>
            <a:off x="231494" y="1080127"/>
            <a:ext cx="11794603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600" i="1" dirty="0">
                <a:solidFill>
                  <a:schemeClr val="accent6"/>
                </a:solidFill>
                <a:latin typeface="Calibri Light" pitchFamily="34" charset="0"/>
              </a:rPr>
              <a:t>Specially cultivated plants</a:t>
            </a:r>
            <a:endParaRPr lang="nl-NL" sz="6600" i="1" dirty="0">
              <a:solidFill>
                <a:schemeClr val="accent6"/>
              </a:solidFill>
              <a:latin typeface="Calibri Light" pitchFamily="34" charset="0"/>
            </a:endParaRPr>
          </a:p>
          <a:p>
            <a:pPr algn="ctr"/>
            <a:r>
              <a:rPr lang="nl-NL" sz="6600" dirty="0" err="1">
                <a:solidFill>
                  <a:schemeClr val="bg1"/>
                </a:solidFill>
                <a:latin typeface="Calibri Light" pitchFamily="34" charset="0"/>
              </a:rPr>
              <a:t>principles</a:t>
            </a:r>
            <a:endParaRPr lang="nl-NL" sz="6600" dirty="0">
              <a:solidFill>
                <a:schemeClr val="accent6"/>
              </a:solidFill>
              <a:latin typeface="Calibri Light" pitchFamily="34" charset="0"/>
            </a:endParaRPr>
          </a:p>
          <a:p>
            <a:pPr algn="ctr"/>
            <a:r>
              <a:rPr lang="nl-NL" sz="6600" dirty="0" err="1">
                <a:solidFill>
                  <a:schemeClr val="bg1"/>
                </a:solidFill>
                <a:latin typeface="Calibri Light" pitchFamily="34" charset="0"/>
              </a:rPr>
              <a:t>applied</a:t>
            </a:r>
            <a:r>
              <a:rPr lang="nl-NL" sz="6600" dirty="0">
                <a:solidFill>
                  <a:schemeClr val="bg1"/>
                </a:solidFill>
                <a:latin typeface="Calibri Light" pitchFamily="34" charset="0"/>
              </a:rPr>
              <a:t> </a:t>
            </a:r>
            <a:r>
              <a:rPr lang="nl-NL" sz="6600" dirty="0" err="1">
                <a:solidFill>
                  <a:schemeClr val="bg1"/>
                </a:solidFill>
                <a:latin typeface="Calibri Light" pitchFamily="34" charset="0"/>
              </a:rPr>
              <a:t>with</a:t>
            </a:r>
            <a:r>
              <a:rPr lang="nl-NL" sz="6600" dirty="0">
                <a:solidFill>
                  <a:schemeClr val="bg1"/>
                </a:solidFill>
                <a:latin typeface="Calibri Light" pitchFamily="34" charset="0"/>
              </a:rPr>
              <a:t> special </a:t>
            </a:r>
            <a:r>
              <a:rPr lang="nl-NL" sz="6600" dirty="0" err="1">
                <a:solidFill>
                  <a:schemeClr val="bg1"/>
                </a:solidFill>
                <a:latin typeface="Calibri Light" pitchFamily="34" charset="0"/>
              </a:rPr>
              <a:t>developed</a:t>
            </a:r>
            <a:r>
              <a:rPr lang="nl-NL" sz="6600" dirty="0">
                <a:solidFill>
                  <a:schemeClr val="bg1"/>
                </a:solidFill>
                <a:latin typeface="Calibri Light" pitchFamily="34" charset="0"/>
              </a:rPr>
              <a:t> </a:t>
            </a:r>
            <a:r>
              <a:rPr lang="nl-NL" sz="6600" i="1" dirty="0">
                <a:solidFill>
                  <a:schemeClr val="accent6"/>
                </a:solidFill>
                <a:latin typeface="Calibri Light" pitchFamily="34" charset="0"/>
              </a:rPr>
              <a:t>CONCEPTS</a:t>
            </a:r>
            <a:endParaRPr lang="nl-NL" sz="4800" i="1" dirty="0">
              <a:solidFill>
                <a:schemeClr val="accent6"/>
              </a:solidFill>
              <a:latin typeface="Calibri Light" pitchFamily="34" charset="0"/>
            </a:endParaRPr>
          </a:p>
        </p:txBody>
      </p:sp>
      <p:pic>
        <p:nvPicPr>
          <p:cNvPr id="5" name="Picture 1" descr="D:\Projecten\AB_de Stelling\Logo\Logo de stelling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332685" y="6130311"/>
            <a:ext cx="2648081" cy="5317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91259293"/>
      </p:ext>
    </p:extLst>
  </p:cSld>
  <p:clrMapOvr>
    <a:masterClrMapping/>
  </p:clrMapOvr>
  <p:transition spd="med" advTm="9000"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kstvak 3"/>
          <p:cNvSpPr txBox="1"/>
          <p:nvPr/>
        </p:nvSpPr>
        <p:spPr>
          <a:xfrm>
            <a:off x="231494" y="2081593"/>
            <a:ext cx="11794603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6600" i="1" dirty="0">
                <a:solidFill>
                  <a:schemeClr val="accent6"/>
                </a:solidFill>
                <a:latin typeface="Calibri Light" pitchFamily="34" charset="0"/>
              </a:rPr>
              <a:t>DE STELLING 2.0</a:t>
            </a:r>
            <a:r>
              <a:rPr lang="nl-NL" sz="6600" dirty="0">
                <a:solidFill>
                  <a:schemeClr val="bg1"/>
                </a:solidFill>
                <a:latin typeface="Calibri Light" pitchFamily="34" charset="0"/>
              </a:rPr>
              <a:t> </a:t>
            </a:r>
          </a:p>
          <a:p>
            <a:pPr algn="ctr"/>
            <a:r>
              <a:rPr lang="nl-NL" sz="6600" dirty="0" err="1">
                <a:solidFill>
                  <a:schemeClr val="bg1"/>
                </a:solidFill>
                <a:latin typeface="Calibri Light" pitchFamily="34" charset="0"/>
              </a:rPr>
              <a:t>possible</a:t>
            </a:r>
            <a:r>
              <a:rPr lang="nl-NL" sz="6600" dirty="0">
                <a:solidFill>
                  <a:schemeClr val="bg1"/>
                </a:solidFill>
                <a:latin typeface="Calibri Light" pitchFamily="34" charset="0"/>
              </a:rPr>
              <a:t> </a:t>
            </a:r>
            <a:r>
              <a:rPr lang="nl-NL" sz="6600" dirty="0" err="1">
                <a:solidFill>
                  <a:schemeClr val="bg1"/>
                </a:solidFill>
                <a:latin typeface="Calibri Light" pitchFamily="34" charset="0"/>
              </a:rPr>
              <a:t>available</a:t>
            </a:r>
            <a:r>
              <a:rPr lang="nl-NL" sz="6600" dirty="0">
                <a:solidFill>
                  <a:schemeClr val="bg1"/>
                </a:solidFill>
                <a:latin typeface="Calibri Light" pitchFamily="34" charset="0"/>
              </a:rPr>
              <a:t> </a:t>
            </a:r>
            <a:r>
              <a:rPr lang="nl-NL" sz="6600" dirty="0" err="1">
                <a:solidFill>
                  <a:schemeClr val="bg1"/>
                </a:solidFill>
                <a:latin typeface="Calibri Light" pitchFamily="34" charset="0"/>
              </a:rPr>
              <a:t>projects</a:t>
            </a:r>
            <a:r>
              <a:rPr lang="nl-NL" sz="6600" dirty="0">
                <a:solidFill>
                  <a:schemeClr val="bg1"/>
                </a:solidFill>
                <a:latin typeface="Calibri Light" pitchFamily="34" charset="0"/>
              </a:rPr>
              <a:t>:</a:t>
            </a:r>
            <a:endParaRPr lang="nl-NL" sz="4800" i="1" dirty="0">
              <a:solidFill>
                <a:schemeClr val="accent6"/>
              </a:solidFill>
              <a:latin typeface="Calibri Light" pitchFamily="34" charset="0"/>
            </a:endParaRPr>
          </a:p>
        </p:txBody>
      </p:sp>
      <p:pic>
        <p:nvPicPr>
          <p:cNvPr id="5" name="Picture 1" descr="D:\Projecten\AB_de Stelling\Logo\Logo de stelling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332685" y="6130311"/>
            <a:ext cx="2648081" cy="5317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91259293"/>
      </p:ext>
    </p:extLst>
  </p:cSld>
  <p:clrMapOvr>
    <a:masterClrMapping/>
  </p:clrMapOvr>
  <p:transition spd="med" advTm="6000"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vak 2"/>
          <p:cNvSpPr txBox="1"/>
          <p:nvPr/>
        </p:nvSpPr>
        <p:spPr>
          <a:xfrm>
            <a:off x="0" y="0"/>
            <a:ext cx="1179460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6600" dirty="0">
                <a:solidFill>
                  <a:schemeClr val="bg1"/>
                </a:solidFill>
                <a:latin typeface="Calibri Light" pitchFamily="34" charset="0"/>
              </a:rPr>
              <a:t>Project: Fort Vijfhuizen</a:t>
            </a:r>
            <a:endParaRPr lang="nl-NL" sz="4800" i="1" dirty="0">
              <a:solidFill>
                <a:schemeClr val="accent6"/>
              </a:solidFill>
              <a:latin typeface="Calibri Light" pitchFamily="34" charset="0"/>
            </a:endParaRPr>
          </a:p>
        </p:txBody>
      </p:sp>
      <p:pic>
        <p:nvPicPr>
          <p:cNvPr id="4" name="Picture 1" descr="D:\Projecten\AB_de Stelling\Logo\Logo de stelling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332685" y="6130311"/>
            <a:ext cx="2648081" cy="531745"/>
          </a:xfrm>
          <a:prstGeom prst="rect">
            <a:avLst/>
          </a:prstGeom>
          <a:noFill/>
        </p:spPr>
      </p:pic>
      <p:pic>
        <p:nvPicPr>
          <p:cNvPr id="65538" name="Picture 2" descr="D:\Projecten\AB_Fort 5huizen\Presentatie\schetsontwerp_kleur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99422" y="1240968"/>
            <a:ext cx="6617953" cy="4680856"/>
          </a:xfrm>
          <a:prstGeom prst="rect">
            <a:avLst/>
          </a:prstGeom>
          <a:noFill/>
        </p:spPr>
      </p:pic>
      <p:pic>
        <p:nvPicPr>
          <p:cNvPr id="65539" name="Picture 3" descr="D:\Projecten\AB_de Stelling\Presentatie\Afbeelding\vijhuizen earth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03200" y="1243978"/>
            <a:ext cx="4516437" cy="3193362"/>
          </a:xfrm>
          <a:prstGeom prst="rect">
            <a:avLst/>
          </a:prstGeom>
          <a:noFill/>
        </p:spPr>
      </p:pic>
      <p:sp>
        <p:nvSpPr>
          <p:cNvPr id="7" name="Rechthoek 6"/>
          <p:cNvSpPr/>
          <p:nvPr/>
        </p:nvSpPr>
        <p:spPr>
          <a:xfrm>
            <a:off x="187355" y="4637704"/>
            <a:ext cx="460235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Tx/>
              <a:buChar char="-"/>
            </a:pPr>
            <a:r>
              <a:rPr lang="en-US" dirty="0">
                <a:solidFill>
                  <a:schemeClr val="bg1"/>
                </a:solidFill>
              </a:rPr>
              <a:t> Between </a:t>
            </a:r>
            <a:r>
              <a:rPr lang="en-US" dirty="0" err="1">
                <a:solidFill>
                  <a:schemeClr val="bg1"/>
                </a:solidFill>
              </a:rPr>
              <a:t>Schiphol</a:t>
            </a:r>
            <a:r>
              <a:rPr lang="en-US" dirty="0">
                <a:solidFill>
                  <a:schemeClr val="bg1"/>
                </a:solidFill>
              </a:rPr>
              <a:t>, </a:t>
            </a:r>
            <a:r>
              <a:rPr lang="en-US" dirty="0" err="1">
                <a:solidFill>
                  <a:schemeClr val="bg1"/>
                </a:solidFill>
              </a:rPr>
              <a:t>Hoofddorp</a:t>
            </a:r>
            <a:r>
              <a:rPr lang="en-US" dirty="0">
                <a:solidFill>
                  <a:schemeClr val="bg1"/>
                </a:solidFill>
              </a:rPr>
              <a:t> and Haarlem</a:t>
            </a:r>
          </a:p>
          <a:p>
            <a:pPr>
              <a:buFontTx/>
              <a:buChar char="-"/>
            </a:pPr>
            <a:r>
              <a:rPr lang="en-US" dirty="0">
                <a:solidFill>
                  <a:schemeClr val="bg1"/>
                </a:solidFill>
              </a:rPr>
              <a:t> Located along a bus route</a:t>
            </a:r>
          </a:p>
          <a:p>
            <a:pPr>
              <a:buFontTx/>
              <a:buChar char="-"/>
            </a:pPr>
            <a:r>
              <a:rPr lang="en-US" dirty="0">
                <a:solidFill>
                  <a:schemeClr val="bg1"/>
                </a:solidFill>
              </a:rPr>
              <a:t> Advertising opportunities</a:t>
            </a:r>
            <a:endParaRPr lang="nl-NL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 advTm="20000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vak 1"/>
          <p:cNvSpPr txBox="1"/>
          <p:nvPr/>
        </p:nvSpPr>
        <p:spPr>
          <a:xfrm>
            <a:off x="0" y="0"/>
            <a:ext cx="1179460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6600" dirty="0">
                <a:solidFill>
                  <a:schemeClr val="bg1"/>
                </a:solidFill>
                <a:latin typeface="Calibri Light" pitchFamily="34" charset="0"/>
              </a:rPr>
              <a:t>Project: </a:t>
            </a:r>
            <a:r>
              <a:rPr lang="nl-NL" sz="6600" dirty="0" err="1">
                <a:solidFill>
                  <a:schemeClr val="bg1"/>
                </a:solidFill>
                <a:latin typeface="Calibri Light" pitchFamily="34" charset="0"/>
              </a:rPr>
              <a:t>Cemetery</a:t>
            </a:r>
            <a:r>
              <a:rPr lang="nl-NL" sz="6600" dirty="0">
                <a:solidFill>
                  <a:schemeClr val="bg1"/>
                </a:solidFill>
                <a:latin typeface="Calibri Light" pitchFamily="34" charset="0"/>
              </a:rPr>
              <a:t> </a:t>
            </a:r>
            <a:r>
              <a:rPr lang="nl-NL" sz="6600" dirty="0" err="1">
                <a:solidFill>
                  <a:schemeClr val="bg1"/>
                </a:solidFill>
                <a:latin typeface="Calibri Light" pitchFamily="34" charset="0"/>
              </a:rPr>
              <a:t>Zorgvlied</a:t>
            </a:r>
            <a:endParaRPr lang="nl-NL" sz="4800" i="1" dirty="0">
              <a:solidFill>
                <a:schemeClr val="accent6"/>
              </a:solidFill>
              <a:latin typeface="Calibri Light" pitchFamily="34" charset="0"/>
            </a:endParaRPr>
          </a:p>
        </p:txBody>
      </p:sp>
      <p:pic>
        <p:nvPicPr>
          <p:cNvPr id="3" name="Picture 1" descr="D:\Projecten\AB_de Stelling\Logo\Logo de stelling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332685" y="6130311"/>
            <a:ext cx="2648081" cy="531745"/>
          </a:xfrm>
          <a:prstGeom prst="rect">
            <a:avLst/>
          </a:prstGeom>
          <a:noFill/>
        </p:spPr>
      </p:pic>
      <p:pic>
        <p:nvPicPr>
          <p:cNvPr id="4" name="Picture 2" descr="D:\Projecten\AB_Fort 5huizen\Presentatie\schetsontwerp_kleur.jpg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5399422" y="1242097"/>
            <a:ext cx="6617953" cy="4678598"/>
          </a:xfrm>
          <a:prstGeom prst="rect">
            <a:avLst/>
          </a:prstGeom>
          <a:noFill/>
        </p:spPr>
      </p:pic>
      <p:pic>
        <p:nvPicPr>
          <p:cNvPr id="5" name="Picture 3" descr="D:\Projecten\AB_de Stelling\Presentatie\Afbeelding\vijhuizen earth.jpg"/>
          <p:cNvPicPr>
            <a:picLocks noChangeAspect="1" noChangeArrowheads="1"/>
          </p:cNvPicPr>
          <p:nvPr/>
        </p:nvPicPr>
        <p:blipFill>
          <a:blip r:embed="rId4" cstate="print"/>
          <a:stretch>
            <a:fillRect/>
          </a:stretch>
        </p:blipFill>
        <p:spPr bwMode="auto">
          <a:xfrm>
            <a:off x="203200" y="1244199"/>
            <a:ext cx="4516437" cy="3192920"/>
          </a:xfrm>
          <a:prstGeom prst="rect">
            <a:avLst/>
          </a:prstGeom>
          <a:noFill/>
        </p:spPr>
      </p:pic>
      <p:sp>
        <p:nvSpPr>
          <p:cNvPr id="6" name="Rechthoek 5"/>
          <p:cNvSpPr/>
          <p:nvPr/>
        </p:nvSpPr>
        <p:spPr>
          <a:xfrm>
            <a:off x="187355" y="4637704"/>
            <a:ext cx="473298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Tx/>
              <a:buChar char="-"/>
            </a:pPr>
            <a:r>
              <a:rPr lang="en-US" dirty="0">
                <a:solidFill>
                  <a:schemeClr val="bg1"/>
                </a:solidFill>
              </a:rPr>
              <a:t> Cemetery </a:t>
            </a:r>
            <a:r>
              <a:rPr lang="en-US" dirty="0" err="1">
                <a:solidFill>
                  <a:schemeClr val="bg1"/>
                </a:solidFill>
              </a:rPr>
              <a:t>Zorgvlied</a:t>
            </a:r>
            <a:r>
              <a:rPr lang="en-US" dirty="0">
                <a:solidFill>
                  <a:schemeClr val="bg1"/>
                </a:solidFill>
              </a:rPr>
              <a:t> Amsterdam, along the A10</a:t>
            </a:r>
          </a:p>
          <a:p>
            <a:pPr>
              <a:buFontTx/>
              <a:buChar char="-"/>
            </a:pPr>
            <a:r>
              <a:rPr lang="en-US" dirty="0">
                <a:solidFill>
                  <a:schemeClr val="bg1"/>
                </a:solidFill>
              </a:rPr>
              <a:t> Replant shore along A10</a:t>
            </a:r>
          </a:p>
          <a:p>
            <a:pPr>
              <a:buFontTx/>
              <a:buChar char="-"/>
            </a:pPr>
            <a:r>
              <a:rPr lang="en-US" dirty="0">
                <a:solidFill>
                  <a:schemeClr val="bg1"/>
                </a:solidFill>
              </a:rPr>
              <a:t> Advertising opportunities</a:t>
            </a:r>
            <a:endParaRPr lang="nl-NL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 advTm="20000"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vak 1"/>
          <p:cNvSpPr txBox="1"/>
          <p:nvPr/>
        </p:nvSpPr>
        <p:spPr>
          <a:xfrm>
            <a:off x="0" y="0"/>
            <a:ext cx="1179460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6600" dirty="0">
                <a:solidFill>
                  <a:schemeClr val="bg1"/>
                </a:solidFill>
                <a:latin typeface="Calibri Light" pitchFamily="34" charset="0"/>
              </a:rPr>
              <a:t>Project: N201</a:t>
            </a:r>
            <a:endParaRPr lang="nl-NL" sz="4800" i="1" dirty="0">
              <a:solidFill>
                <a:schemeClr val="accent6"/>
              </a:solidFill>
              <a:latin typeface="Calibri Light" pitchFamily="34" charset="0"/>
            </a:endParaRPr>
          </a:p>
        </p:txBody>
      </p:sp>
      <p:pic>
        <p:nvPicPr>
          <p:cNvPr id="3" name="Picture 1" descr="D:\Projecten\AB_de Stelling\Logo\Logo de stelling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332685" y="6130311"/>
            <a:ext cx="2648081" cy="531745"/>
          </a:xfrm>
          <a:prstGeom prst="rect">
            <a:avLst/>
          </a:prstGeom>
          <a:noFill/>
        </p:spPr>
      </p:pic>
      <p:pic>
        <p:nvPicPr>
          <p:cNvPr id="4" name="Picture 2" descr="D:\Projecten\AB_Fort 5huizen\Presentatie\schetsontwerp_kleur.jpg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5399422" y="1242097"/>
            <a:ext cx="6617952" cy="4678598"/>
          </a:xfrm>
          <a:prstGeom prst="rect">
            <a:avLst/>
          </a:prstGeom>
          <a:noFill/>
        </p:spPr>
      </p:pic>
      <p:pic>
        <p:nvPicPr>
          <p:cNvPr id="5" name="Picture 3" descr="D:\Projecten\AB_de Stelling\Presentatie\Afbeelding\vijhuizen earth.jpg"/>
          <p:cNvPicPr>
            <a:picLocks noChangeAspect="1" noChangeArrowheads="1"/>
          </p:cNvPicPr>
          <p:nvPr/>
        </p:nvPicPr>
        <p:blipFill>
          <a:blip r:embed="rId4" cstate="print"/>
          <a:stretch>
            <a:fillRect/>
          </a:stretch>
        </p:blipFill>
        <p:spPr bwMode="auto">
          <a:xfrm>
            <a:off x="203200" y="1244199"/>
            <a:ext cx="4516436" cy="3192920"/>
          </a:xfrm>
          <a:prstGeom prst="rect">
            <a:avLst/>
          </a:prstGeom>
          <a:noFill/>
        </p:spPr>
      </p:pic>
      <p:sp>
        <p:nvSpPr>
          <p:cNvPr id="6" name="Rechthoek 5"/>
          <p:cNvSpPr/>
          <p:nvPr/>
        </p:nvSpPr>
        <p:spPr>
          <a:xfrm>
            <a:off x="187355" y="4637704"/>
            <a:ext cx="492167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Tx/>
              <a:buChar char="-"/>
            </a:pPr>
            <a:r>
              <a:rPr lang="en-US" dirty="0">
                <a:solidFill>
                  <a:schemeClr val="bg1"/>
                </a:solidFill>
              </a:rPr>
              <a:t> Landscape park new to develop, along the N201</a:t>
            </a:r>
          </a:p>
          <a:p>
            <a:pPr>
              <a:buFontTx/>
              <a:buChar char="-"/>
            </a:pPr>
            <a:r>
              <a:rPr lang="en-US" dirty="0">
                <a:solidFill>
                  <a:schemeClr val="bg1"/>
                </a:solidFill>
              </a:rPr>
              <a:t> Advertising opportunities</a:t>
            </a:r>
            <a:endParaRPr lang="nl-NL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 advTm="20000"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vak 1"/>
          <p:cNvSpPr txBox="1"/>
          <p:nvPr/>
        </p:nvSpPr>
        <p:spPr>
          <a:xfrm>
            <a:off x="0" y="0"/>
            <a:ext cx="1179460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6600" dirty="0">
                <a:solidFill>
                  <a:schemeClr val="bg1"/>
                </a:solidFill>
                <a:latin typeface="Calibri Light" pitchFamily="34" charset="0"/>
              </a:rPr>
              <a:t>Project Park 21, Haarlemmermeer</a:t>
            </a:r>
            <a:endParaRPr lang="nl-NL" sz="4800" i="1" dirty="0">
              <a:solidFill>
                <a:schemeClr val="accent6"/>
              </a:solidFill>
              <a:latin typeface="Calibri Light" pitchFamily="34" charset="0"/>
            </a:endParaRPr>
          </a:p>
        </p:txBody>
      </p:sp>
      <p:pic>
        <p:nvPicPr>
          <p:cNvPr id="3" name="Picture 1" descr="D:\Projecten\AB_de Stelling\Logo\Logo de stelling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332685" y="6130311"/>
            <a:ext cx="2648081" cy="531745"/>
          </a:xfrm>
          <a:prstGeom prst="rect">
            <a:avLst/>
          </a:prstGeom>
          <a:noFill/>
        </p:spPr>
      </p:pic>
      <p:pic>
        <p:nvPicPr>
          <p:cNvPr id="4" name="Picture 2" descr="D:\Projecten\AB_Fort 5huizen\Presentatie\schetsontwerp_kleur.jpg"/>
          <p:cNvPicPr>
            <a:picLocks noChangeAspect="1" noChangeArrowheads="1"/>
          </p:cNvPicPr>
          <p:nvPr/>
        </p:nvPicPr>
        <p:blipFill>
          <a:blip r:embed="rId3" cstate="print"/>
          <a:srcRect t="10634" b="14687"/>
          <a:stretch>
            <a:fillRect/>
          </a:stretch>
        </p:blipFill>
        <p:spPr bwMode="auto">
          <a:xfrm>
            <a:off x="5747655" y="1233714"/>
            <a:ext cx="6199926" cy="4630058"/>
          </a:xfrm>
          <a:prstGeom prst="rect">
            <a:avLst/>
          </a:prstGeom>
          <a:noFill/>
        </p:spPr>
      </p:pic>
      <p:pic>
        <p:nvPicPr>
          <p:cNvPr id="5" name="Picture 3" descr="D:\Projecten\AB_de Stelling\Presentatie\Afbeelding\vijhuizen earth.jpg"/>
          <p:cNvPicPr>
            <a:picLocks noChangeAspect="1" noChangeArrowheads="1"/>
          </p:cNvPicPr>
          <p:nvPr/>
        </p:nvPicPr>
        <p:blipFill>
          <a:blip r:embed="rId4" cstate="print"/>
          <a:stretch>
            <a:fillRect/>
          </a:stretch>
        </p:blipFill>
        <p:spPr bwMode="auto">
          <a:xfrm>
            <a:off x="203200" y="1244199"/>
            <a:ext cx="4516436" cy="3192919"/>
          </a:xfrm>
          <a:prstGeom prst="rect">
            <a:avLst/>
          </a:prstGeom>
          <a:noFill/>
        </p:spPr>
      </p:pic>
      <p:sp>
        <p:nvSpPr>
          <p:cNvPr id="6" name="Rechthoek 5"/>
          <p:cNvSpPr/>
          <p:nvPr/>
        </p:nvSpPr>
        <p:spPr>
          <a:xfrm>
            <a:off x="187354" y="4637704"/>
            <a:ext cx="540064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Tx/>
              <a:buChar char="-"/>
            </a:pPr>
            <a:r>
              <a:rPr lang="en-US" dirty="0">
                <a:solidFill>
                  <a:schemeClr val="bg1"/>
                </a:solidFill>
              </a:rPr>
              <a:t> Landscape park new to develop, along the A4</a:t>
            </a:r>
          </a:p>
          <a:p>
            <a:pPr>
              <a:buFontTx/>
              <a:buChar char="-"/>
            </a:pPr>
            <a:r>
              <a:rPr lang="en-US" dirty="0">
                <a:solidFill>
                  <a:schemeClr val="bg1"/>
                </a:solidFill>
              </a:rPr>
              <a:t> Between  </a:t>
            </a:r>
            <a:r>
              <a:rPr lang="en-US" dirty="0" err="1">
                <a:solidFill>
                  <a:schemeClr val="bg1"/>
                </a:solidFill>
              </a:rPr>
              <a:t>Nieuw</a:t>
            </a:r>
            <a:r>
              <a:rPr lang="nl-NL" dirty="0">
                <a:solidFill>
                  <a:schemeClr val="bg1"/>
                </a:solidFill>
              </a:rPr>
              <a:t>-Vennep, Hoofddorp and </a:t>
            </a:r>
            <a:r>
              <a:rPr lang="nl-NL" dirty="0" err="1">
                <a:solidFill>
                  <a:schemeClr val="bg1"/>
                </a:solidFill>
              </a:rPr>
              <a:t>Rijsenhout</a:t>
            </a:r>
            <a:endParaRPr lang="en-US" dirty="0">
              <a:solidFill>
                <a:schemeClr val="bg1"/>
              </a:solidFill>
            </a:endParaRPr>
          </a:p>
          <a:p>
            <a:pPr>
              <a:buFontTx/>
              <a:buChar char="-"/>
            </a:pPr>
            <a:r>
              <a:rPr lang="en-US" dirty="0">
                <a:solidFill>
                  <a:schemeClr val="bg1"/>
                </a:solidFill>
              </a:rPr>
              <a:t> Advertising opportunities</a:t>
            </a:r>
            <a:endParaRPr lang="nl-NL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 advTm="25000"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kstvak 3"/>
          <p:cNvSpPr txBox="1"/>
          <p:nvPr/>
        </p:nvSpPr>
        <p:spPr>
          <a:xfrm>
            <a:off x="1122744" y="2210758"/>
            <a:ext cx="982690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600" dirty="0">
                <a:solidFill>
                  <a:schemeClr val="accent6"/>
                </a:solidFill>
                <a:latin typeface="Calibri Light" pitchFamily="34" charset="0"/>
              </a:rPr>
              <a:t>Specially cultivated plants</a:t>
            </a:r>
            <a:endParaRPr lang="nl-NL" sz="6600" dirty="0">
              <a:solidFill>
                <a:schemeClr val="accent6"/>
              </a:solidFill>
              <a:latin typeface="Calibri Light" pitchFamily="34" charset="0"/>
            </a:endParaRPr>
          </a:p>
          <a:p>
            <a:pPr algn="ctr"/>
            <a:r>
              <a:rPr lang="nl-NL" sz="6600" dirty="0" err="1">
                <a:solidFill>
                  <a:schemeClr val="bg1"/>
                </a:solidFill>
                <a:latin typeface="Calibri Light" pitchFamily="34" charset="0"/>
              </a:rPr>
              <a:t>summarized</a:t>
            </a:r>
            <a:endParaRPr lang="nl-NL" sz="4800" dirty="0">
              <a:solidFill>
                <a:schemeClr val="bg1"/>
              </a:solidFill>
              <a:latin typeface="Calibri Light" pitchFamily="34" charset="0"/>
            </a:endParaRPr>
          </a:p>
        </p:txBody>
      </p:sp>
      <p:pic>
        <p:nvPicPr>
          <p:cNvPr id="5" name="Picture 1" descr="D:\Projecten\AB_de Stelling\Logo\Logo de stelling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332685" y="6130311"/>
            <a:ext cx="2648081" cy="53174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91259293"/>
      </p:ext>
    </p:extLst>
  </p:cSld>
  <p:clrMapOvr>
    <a:masterClrMapping/>
  </p:clrMapOvr>
  <p:transition spd="med" advTm="5000"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09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hoek 5"/>
          <p:cNvSpPr/>
          <p:nvPr/>
        </p:nvSpPr>
        <p:spPr>
          <a:xfrm>
            <a:off x="229105" y="253541"/>
            <a:ext cx="7176303" cy="1493134"/>
          </a:xfrm>
          <a:prstGeom prst="rect">
            <a:avLst/>
          </a:prstGeom>
          <a:solidFill>
            <a:schemeClr val="tx1">
              <a:alpha val="59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Overarching collective project 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838200" y="1403130"/>
            <a:ext cx="10515600" cy="5044966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4000" dirty="0">
                <a:solidFill>
                  <a:srgbClr val="92D050"/>
                </a:solidFill>
              </a:rPr>
              <a:t>the innovative way to a healthy metropolis</a:t>
            </a:r>
          </a:p>
          <a:p>
            <a:pPr marL="0" indent="0">
              <a:buNone/>
            </a:pPr>
            <a:endParaRPr lang="en-US" sz="4000" dirty="0">
              <a:solidFill>
                <a:srgbClr val="92D050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Greenport </a:t>
            </a:r>
            <a:r>
              <a:rPr lang="en-US" dirty="0" err="1">
                <a:solidFill>
                  <a:schemeClr val="bg1"/>
                </a:solidFill>
              </a:rPr>
              <a:t>Aalsmeer</a:t>
            </a:r>
            <a:r>
              <a:rPr lang="en-US" dirty="0">
                <a:solidFill>
                  <a:schemeClr val="bg1"/>
                </a:solidFill>
              </a:rPr>
              <a:t> – </a:t>
            </a:r>
            <a:r>
              <a:rPr lang="en-US" dirty="0" err="1">
                <a:solidFill>
                  <a:schemeClr val="bg1"/>
                </a:solidFill>
              </a:rPr>
              <a:t>Wageningen</a:t>
            </a:r>
            <a:r>
              <a:rPr lang="en-US" dirty="0">
                <a:solidFill>
                  <a:schemeClr val="bg1"/>
                </a:solidFill>
              </a:rPr>
              <a:t>-UR-PPO</a:t>
            </a:r>
          </a:p>
          <a:p>
            <a:r>
              <a:rPr lang="en-US" dirty="0" err="1">
                <a:solidFill>
                  <a:schemeClr val="bg1"/>
                </a:solidFill>
              </a:rPr>
              <a:t>Noord</a:t>
            </a:r>
            <a:r>
              <a:rPr lang="en-US" dirty="0">
                <a:solidFill>
                  <a:schemeClr val="bg1"/>
                </a:solidFill>
              </a:rPr>
              <a:t> Holland, </a:t>
            </a:r>
            <a:r>
              <a:rPr lang="en-US" dirty="0" err="1">
                <a:solidFill>
                  <a:schemeClr val="bg1"/>
                </a:solidFill>
              </a:rPr>
              <a:t>Stelling</a:t>
            </a:r>
            <a:r>
              <a:rPr lang="en-US" dirty="0">
                <a:solidFill>
                  <a:schemeClr val="bg1"/>
                </a:solidFill>
              </a:rPr>
              <a:t> van Amsterdam</a:t>
            </a:r>
          </a:p>
          <a:p>
            <a:r>
              <a:rPr lang="en-US" dirty="0" err="1">
                <a:solidFill>
                  <a:schemeClr val="bg1"/>
                </a:solidFill>
              </a:rPr>
              <a:t>Ministerie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Economische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Zaken</a:t>
            </a:r>
            <a:r>
              <a:rPr lang="en-US" dirty="0">
                <a:solidFill>
                  <a:schemeClr val="bg1"/>
                </a:solidFill>
              </a:rPr>
              <a:t> RVO</a:t>
            </a:r>
          </a:p>
          <a:p>
            <a:r>
              <a:rPr lang="en-US" dirty="0">
                <a:solidFill>
                  <a:schemeClr val="bg1"/>
                </a:solidFill>
              </a:rPr>
              <a:t>Flevoland, </a:t>
            </a:r>
            <a:r>
              <a:rPr lang="en-US" dirty="0" err="1">
                <a:solidFill>
                  <a:schemeClr val="bg1"/>
                </a:solidFill>
              </a:rPr>
              <a:t>Floriade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Almere</a:t>
            </a:r>
            <a:r>
              <a:rPr lang="en-US" dirty="0">
                <a:solidFill>
                  <a:schemeClr val="bg1"/>
                </a:solidFill>
              </a:rPr>
              <a:t> 2022</a:t>
            </a:r>
          </a:p>
          <a:p>
            <a:r>
              <a:rPr lang="en-US" dirty="0" err="1">
                <a:solidFill>
                  <a:schemeClr val="bg1"/>
                </a:solidFill>
              </a:rPr>
              <a:t>Lelystad</a:t>
            </a:r>
            <a:r>
              <a:rPr lang="en-US" dirty="0">
                <a:solidFill>
                  <a:schemeClr val="bg1"/>
                </a:solidFill>
              </a:rPr>
              <a:t>, NSE-</a:t>
            </a:r>
            <a:r>
              <a:rPr lang="en-US" dirty="0" err="1">
                <a:solidFill>
                  <a:schemeClr val="bg1"/>
                </a:solidFill>
              </a:rPr>
              <a:t>iCHALLENGE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RWS, SAA-</a:t>
            </a:r>
            <a:r>
              <a:rPr lang="en-US" dirty="0" err="1">
                <a:solidFill>
                  <a:schemeClr val="bg1"/>
                </a:solidFill>
              </a:rPr>
              <a:t>traject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 err="1">
                <a:solidFill>
                  <a:schemeClr val="bg1"/>
                </a:solidFill>
              </a:rPr>
              <a:t>Overige</a:t>
            </a:r>
            <a:r>
              <a:rPr lang="en-US" dirty="0">
                <a:solidFill>
                  <a:schemeClr val="bg1"/>
                </a:solidFill>
              </a:rPr>
              <a:t> 36 MRA-partners</a:t>
            </a:r>
          </a:p>
          <a:p>
            <a:r>
              <a:rPr lang="en-US" dirty="0">
                <a:solidFill>
                  <a:schemeClr val="bg1"/>
                </a:solidFill>
              </a:rPr>
              <a:t>25.000 hectares = 100 m2 /person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endParaRPr lang="nl-NL" dirty="0">
              <a:solidFill>
                <a:schemeClr val="bg1"/>
              </a:solidFill>
            </a:endParaRPr>
          </a:p>
        </p:txBody>
      </p:sp>
      <p:pic>
        <p:nvPicPr>
          <p:cNvPr id="12" name="Picture 1" descr="D:\Projecten\AB_de Stelling\Logo\Logo de stelling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93572" y="577491"/>
            <a:ext cx="4269323" cy="825639"/>
          </a:xfrm>
          <a:prstGeom prst="rect">
            <a:avLst/>
          </a:prstGeom>
          <a:noFill/>
        </p:spPr>
      </p:pic>
      <p:pic>
        <p:nvPicPr>
          <p:cNvPr id="4" name="Afbeelding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79739" y="3589508"/>
            <a:ext cx="4229544" cy="2858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1938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000" advClick="0" advTm="30000">
        <p:fade/>
      </p:transition>
    </mc:Choice>
    <mc:Fallback xmlns="">
      <p:transition spd="slow" advClick="0" advTm="30000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206155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7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Afbeelding 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kstvak 5"/>
          <p:cNvSpPr txBox="1"/>
          <p:nvPr/>
        </p:nvSpPr>
        <p:spPr>
          <a:xfrm>
            <a:off x="557940" y="3084162"/>
            <a:ext cx="122341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0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874</a:t>
            </a:r>
          </a:p>
        </p:txBody>
      </p:sp>
      <p:sp>
        <p:nvSpPr>
          <p:cNvPr id="7" name="Tekstvak 6"/>
          <p:cNvSpPr txBox="1"/>
          <p:nvPr/>
        </p:nvSpPr>
        <p:spPr>
          <a:xfrm>
            <a:off x="10445859" y="3084162"/>
            <a:ext cx="122341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0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914</a:t>
            </a:r>
          </a:p>
        </p:txBody>
      </p:sp>
      <p:cxnSp>
        <p:nvCxnSpPr>
          <p:cNvPr id="9" name="Rechte verbindingslijn 8"/>
          <p:cNvCxnSpPr>
            <a:stCxn id="6" idx="3"/>
            <a:endCxn id="7" idx="1"/>
          </p:cNvCxnSpPr>
          <p:nvPr/>
        </p:nvCxnSpPr>
        <p:spPr>
          <a:xfrm>
            <a:off x="1781352" y="3438105"/>
            <a:ext cx="8664507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hoek 13"/>
          <p:cNvSpPr/>
          <p:nvPr/>
        </p:nvSpPr>
        <p:spPr>
          <a:xfrm>
            <a:off x="9855928" y="6519446"/>
            <a:ext cx="234262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sz="1600" dirty="0" err="1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hotos</a:t>
            </a:r>
            <a:r>
              <a:rPr lang="nl-NL" sz="16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© Kenneth Stamp </a:t>
            </a:r>
            <a:endParaRPr lang="en-GB" sz="16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81487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11940">
        <p:fade/>
      </p:transition>
    </mc:Choice>
    <mc:Fallback xmlns="">
      <p:transition spd="slow" advTm="1194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1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1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40753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1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Afbeelding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270719"/>
            <a:ext cx="12192000" cy="8128719"/>
          </a:xfrm>
          <a:prstGeom prst="rect">
            <a:avLst/>
          </a:prstGeom>
        </p:spPr>
      </p:pic>
      <p:sp>
        <p:nvSpPr>
          <p:cNvPr id="2" name="Tekstvak 1"/>
          <p:cNvSpPr txBox="1"/>
          <p:nvPr/>
        </p:nvSpPr>
        <p:spPr>
          <a:xfrm>
            <a:off x="557940" y="3084162"/>
            <a:ext cx="122341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0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874</a:t>
            </a:r>
          </a:p>
        </p:txBody>
      </p:sp>
      <p:sp>
        <p:nvSpPr>
          <p:cNvPr id="3" name="Tekstvak 2"/>
          <p:cNvSpPr txBox="1"/>
          <p:nvPr/>
        </p:nvSpPr>
        <p:spPr>
          <a:xfrm>
            <a:off x="10445859" y="3084162"/>
            <a:ext cx="122341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0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914</a:t>
            </a:r>
          </a:p>
        </p:txBody>
      </p:sp>
      <p:cxnSp>
        <p:nvCxnSpPr>
          <p:cNvPr id="4" name="Rechte verbindingslijn 3"/>
          <p:cNvCxnSpPr>
            <a:stCxn id="2" idx="3"/>
            <a:endCxn id="3" idx="1"/>
          </p:cNvCxnSpPr>
          <p:nvPr/>
        </p:nvCxnSpPr>
        <p:spPr>
          <a:xfrm>
            <a:off x="1781352" y="3438105"/>
            <a:ext cx="8664507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289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5901"/>
    </mc:Choice>
    <mc:Fallback xmlns="">
      <p:transition advTm="590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6" presetClass="exit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arn(outVertical)">
                                      <p:cBhvr>
                                        <p:cTn id="12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6" b="15399"/>
          <a:stretch/>
        </p:blipFill>
        <p:spPr>
          <a:xfrm>
            <a:off x="-9844" y="-1"/>
            <a:ext cx="12229258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3733039"/>
      </p:ext>
    </p:extLst>
  </p:cSld>
  <p:clrMapOvr>
    <a:masterClrMapping/>
  </p:clrMapOvr>
  <p:transition spd="slow" advTm="3000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87" b="7723"/>
          <a:stretch/>
        </p:blipFill>
        <p:spPr>
          <a:xfrm>
            <a:off x="0" y="-1"/>
            <a:ext cx="12189806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5828940"/>
      </p:ext>
    </p:extLst>
  </p:cSld>
  <p:clrMapOvr>
    <a:masterClrMapping/>
  </p:clrMapOvr>
  <p:transition spd="slow" advTm="3000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98" b="762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0194856"/>
      </p:ext>
    </p:extLst>
  </p:cSld>
  <p:clrMapOvr>
    <a:masterClrMapping/>
  </p:clrMapOvr>
  <p:transition spd="slow" advTm="3000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798749"/>
      </p:ext>
    </p:extLst>
  </p:cSld>
  <p:clrMapOvr>
    <a:masterClrMapping/>
  </p:clrMapOvr>
  <p:transition spd="slow" advTm="2000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-1001908"/>
            <a:ext cx="12192001" cy="8586691"/>
          </a:xfrm>
          <a:prstGeom prst="rect">
            <a:avLst/>
          </a:prstGeom>
        </p:spPr>
      </p:pic>
      <p:grpSp>
        <p:nvGrpSpPr>
          <p:cNvPr id="2" name="Groep 11"/>
          <p:cNvGrpSpPr/>
          <p:nvPr/>
        </p:nvGrpSpPr>
        <p:grpSpPr>
          <a:xfrm>
            <a:off x="4038600" y="2036763"/>
            <a:ext cx="3403600" cy="3679825"/>
            <a:chOff x="4038600" y="2036763"/>
            <a:chExt cx="3403600" cy="3679825"/>
          </a:xfrm>
        </p:grpSpPr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5886450" y="3629026"/>
              <a:ext cx="1543050" cy="1225550"/>
            </a:xfrm>
            <a:custGeom>
              <a:avLst/>
              <a:gdLst>
                <a:gd name="T0" fmla="*/ 0 w 468"/>
                <a:gd name="T1" fmla="*/ 87 h 372"/>
                <a:gd name="T2" fmla="*/ 69 w 468"/>
                <a:gd name="T3" fmla="*/ 47 h 372"/>
                <a:gd name="T4" fmla="*/ 44 w 468"/>
                <a:gd name="T5" fmla="*/ 85 h 372"/>
                <a:gd name="T6" fmla="*/ 168 w 468"/>
                <a:gd name="T7" fmla="*/ 13 h 372"/>
                <a:gd name="T8" fmla="*/ 32 w 468"/>
                <a:gd name="T9" fmla="*/ 115 h 372"/>
                <a:gd name="T10" fmla="*/ 220 w 468"/>
                <a:gd name="T11" fmla="*/ 7 h 372"/>
                <a:gd name="T12" fmla="*/ 52 w 468"/>
                <a:gd name="T13" fmla="*/ 126 h 372"/>
                <a:gd name="T14" fmla="*/ 263 w 468"/>
                <a:gd name="T15" fmla="*/ 4 h 372"/>
                <a:gd name="T16" fmla="*/ 82 w 468"/>
                <a:gd name="T17" fmla="*/ 132 h 372"/>
                <a:gd name="T18" fmla="*/ 290 w 468"/>
                <a:gd name="T19" fmla="*/ 12 h 372"/>
                <a:gd name="T20" fmla="*/ 84 w 468"/>
                <a:gd name="T21" fmla="*/ 155 h 372"/>
                <a:gd name="T22" fmla="*/ 327 w 468"/>
                <a:gd name="T23" fmla="*/ 15 h 372"/>
                <a:gd name="T24" fmla="*/ 94 w 468"/>
                <a:gd name="T25" fmla="*/ 172 h 372"/>
                <a:gd name="T26" fmla="*/ 343 w 468"/>
                <a:gd name="T27" fmla="*/ 28 h 372"/>
                <a:gd name="T28" fmla="*/ 109 w 468"/>
                <a:gd name="T29" fmla="*/ 187 h 372"/>
                <a:gd name="T30" fmla="*/ 362 w 468"/>
                <a:gd name="T31" fmla="*/ 41 h 372"/>
                <a:gd name="T32" fmla="*/ 167 w 468"/>
                <a:gd name="T33" fmla="*/ 179 h 372"/>
                <a:gd name="T34" fmla="*/ 381 w 468"/>
                <a:gd name="T35" fmla="*/ 55 h 372"/>
                <a:gd name="T36" fmla="*/ 213 w 468"/>
                <a:gd name="T37" fmla="*/ 175 h 372"/>
                <a:gd name="T38" fmla="*/ 392 w 468"/>
                <a:gd name="T39" fmla="*/ 72 h 372"/>
                <a:gd name="T40" fmla="*/ 252 w 468"/>
                <a:gd name="T41" fmla="*/ 178 h 372"/>
                <a:gd name="T42" fmla="*/ 426 w 468"/>
                <a:gd name="T43" fmla="*/ 77 h 372"/>
                <a:gd name="T44" fmla="*/ 281 w 468"/>
                <a:gd name="T45" fmla="*/ 183 h 372"/>
                <a:gd name="T46" fmla="*/ 435 w 468"/>
                <a:gd name="T47" fmla="*/ 94 h 372"/>
                <a:gd name="T48" fmla="*/ 293 w 468"/>
                <a:gd name="T49" fmla="*/ 199 h 372"/>
                <a:gd name="T50" fmla="*/ 446 w 468"/>
                <a:gd name="T51" fmla="*/ 110 h 372"/>
                <a:gd name="T52" fmla="*/ 310 w 468"/>
                <a:gd name="T53" fmla="*/ 213 h 372"/>
                <a:gd name="T54" fmla="*/ 443 w 468"/>
                <a:gd name="T55" fmla="*/ 136 h 372"/>
                <a:gd name="T56" fmla="*/ 305 w 468"/>
                <a:gd name="T57" fmla="*/ 238 h 372"/>
                <a:gd name="T58" fmla="*/ 450 w 468"/>
                <a:gd name="T59" fmla="*/ 155 h 372"/>
                <a:gd name="T60" fmla="*/ 281 w 468"/>
                <a:gd name="T61" fmla="*/ 274 h 372"/>
                <a:gd name="T62" fmla="*/ 464 w 468"/>
                <a:gd name="T63" fmla="*/ 168 h 372"/>
                <a:gd name="T64" fmla="*/ 304 w 468"/>
                <a:gd name="T65" fmla="*/ 285 h 372"/>
                <a:gd name="T66" fmla="*/ 452 w 468"/>
                <a:gd name="T67" fmla="*/ 199 h 372"/>
                <a:gd name="T68" fmla="*/ 298 w 468"/>
                <a:gd name="T69" fmla="*/ 312 h 372"/>
                <a:gd name="T70" fmla="*/ 445 w 468"/>
                <a:gd name="T71" fmla="*/ 227 h 372"/>
                <a:gd name="T72" fmla="*/ 286 w 468"/>
                <a:gd name="T73" fmla="*/ 340 h 372"/>
                <a:gd name="T74" fmla="*/ 439 w 468"/>
                <a:gd name="T75" fmla="*/ 252 h 372"/>
                <a:gd name="T76" fmla="*/ 280 w 468"/>
                <a:gd name="T77" fmla="*/ 367 h 372"/>
                <a:gd name="T78" fmla="*/ 468 w 468"/>
                <a:gd name="T79" fmla="*/ 258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68" h="372">
                  <a:moveTo>
                    <a:pt x="0" y="87"/>
                  </a:moveTo>
                  <a:cubicBezTo>
                    <a:pt x="1" y="88"/>
                    <a:pt x="68" y="46"/>
                    <a:pt x="69" y="47"/>
                  </a:cubicBezTo>
                  <a:cubicBezTo>
                    <a:pt x="69" y="48"/>
                    <a:pt x="43" y="84"/>
                    <a:pt x="44" y="85"/>
                  </a:cubicBezTo>
                  <a:cubicBezTo>
                    <a:pt x="46" y="88"/>
                    <a:pt x="167" y="10"/>
                    <a:pt x="168" y="13"/>
                  </a:cubicBezTo>
                  <a:cubicBezTo>
                    <a:pt x="171" y="17"/>
                    <a:pt x="30" y="112"/>
                    <a:pt x="32" y="115"/>
                  </a:cubicBezTo>
                  <a:cubicBezTo>
                    <a:pt x="35" y="120"/>
                    <a:pt x="218" y="4"/>
                    <a:pt x="220" y="7"/>
                  </a:cubicBezTo>
                  <a:cubicBezTo>
                    <a:pt x="222" y="11"/>
                    <a:pt x="49" y="122"/>
                    <a:pt x="52" y="126"/>
                  </a:cubicBezTo>
                  <a:cubicBezTo>
                    <a:pt x="54" y="131"/>
                    <a:pt x="261" y="0"/>
                    <a:pt x="263" y="4"/>
                  </a:cubicBezTo>
                  <a:cubicBezTo>
                    <a:pt x="266" y="9"/>
                    <a:pt x="79" y="128"/>
                    <a:pt x="82" y="132"/>
                  </a:cubicBezTo>
                  <a:cubicBezTo>
                    <a:pt x="85" y="138"/>
                    <a:pt x="286" y="6"/>
                    <a:pt x="290" y="12"/>
                  </a:cubicBezTo>
                  <a:cubicBezTo>
                    <a:pt x="293" y="18"/>
                    <a:pt x="81" y="150"/>
                    <a:pt x="84" y="155"/>
                  </a:cubicBezTo>
                  <a:cubicBezTo>
                    <a:pt x="87" y="160"/>
                    <a:pt x="324" y="10"/>
                    <a:pt x="327" y="15"/>
                  </a:cubicBezTo>
                  <a:cubicBezTo>
                    <a:pt x="330" y="20"/>
                    <a:pt x="90" y="165"/>
                    <a:pt x="94" y="172"/>
                  </a:cubicBezTo>
                  <a:cubicBezTo>
                    <a:pt x="98" y="179"/>
                    <a:pt x="340" y="22"/>
                    <a:pt x="343" y="28"/>
                  </a:cubicBezTo>
                  <a:cubicBezTo>
                    <a:pt x="347" y="33"/>
                    <a:pt x="105" y="180"/>
                    <a:pt x="109" y="187"/>
                  </a:cubicBezTo>
                  <a:cubicBezTo>
                    <a:pt x="113" y="193"/>
                    <a:pt x="359" y="36"/>
                    <a:pt x="362" y="41"/>
                  </a:cubicBezTo>
                  <a:cubicBezTo>
                    <a:pt x="365" y="47"/>
                    <a:pt x="164" y="174"/>
                    <a:pt x="167" y="179"/>
                  </a:cubicBezTo>
                  <a:cubicBezTo>
                    <a:pt x="170" y="184"/>
                    <a:pt x="378" y="50"/>
                    <a:pt x="381" y="55"/>
                  </a:cubicBezTo>
                  <a:cubicBezTo>
                    <a:pt x="383" y="59"/>
                    <a:pt x="210" y="170"/>
                    <a:pt x="213" y="175"/>
                  </a:cubicBezTo>
                  <a:cubicBezTo>
                    <a:pt x="215" y="180"/>
                    <a:pt x="389" y="68"/>
                    <a:pt x="392" y="72"/>
                  </a:cubicBezTo>
                  <a:cubicBezTo>
                    <a:pt x="394" y="76"/>
                    <a:pt x="249" y="174"/>
                    <a:pt x="252" y="178"/>
                  </a:cubicBezTo>
                  <a:cubicBezTo>
                    <a:pt x="254" y="181"/>
                    <a:pt x="424" y="73"/>
                    <a:pt x="426" y="77"/>
                  </a:cubicBezTo>
                  <a:cubicBezTo>
                    <a:pt x="429" y="81"/>
                    <a:pt x="279" y="180"/>
                    <a:pt x="281" y="183"/>
                  </a:cubicBezTo>
                  <a:cubicBezTo>
                    <a:pt x="283" y="186"/>
                    <a:pt x="433" y="91"/>
                    <a:pt x="435" y="94"/>
                  </a:cubicBezTo>
                  <a:cubicBezTo>
                    <a:pt x="437" y="97"/>
                    <a:pt x="291" y="195"/>
                    <a:pt x="293" y="199"/>
                  </a:cubicBezTo>
                  <a:cubicBezTo>
                    <a:pt x="294" y="202"/>
                    <a:pt x="444" y="107"/>
                    <a:pt x="446" y="110"/>
                  </a:cubicBezTo>
                  <a:cubicBezTo>
                    <a:pt x="449" y="114"/>
                    <a:pt x="307" y="209"/>
                    <a:pt x="310" y="213"/>
                  </a:cubicBezTo>
                  <a:cubicBezTo>
                    <a:pt x="312" y="216"/>
                    <a:pt x="441" y="132"/>
                    <a:pt x="443" y="136"/>
                  </a:cubicBezTo>
                  <a:cubicBezTo>
                    <a:pt x="445" y="139"/>
                    <a:pt x="303" y="234"/>
                    <a:pt x="305" y="238"/>
                  </a:cubicBezTo>
                  <a:cubicBezTo>
                    <a:pt x="307" y="242"/>
                    <a:pt x="448" y="151"/>
                    <a:pt x="450" y="155"/>
                  </a:cubicBezTo>
                  <a:cubicBezTo>
                    <a:pt x="452" y="159"/>
                    <a:pt x="278" y="269"/>
                    <a:pt x="281" y="274"/>
                  </a:cubicBezTo>
                  <a:cubicBezTo>
                    <a:pt x="283" y="278"/>
                    <a:pt x="462" y="164"/>
                    <a:pt x="464" y="168"/>
                  </a:cubicBezTo>
                  <a:cubicBezTo>
                    <a:pt x="467" y="172"/>
                    <a:pt x="302" y="281"/>
                    <a:pt x="304" y="285"/>
                  </a:cubicBezTo>
                  <a:cubicBezTo>
                    <a:pt x="307" y="289"/>
                    <a:pt x="449" y="195"/>
                    <a:pt x="452" y="199"/>
                  </a:cubicBezTo>
                  <a:cubicBezTo>
                    <a:pt x="454" y="203"/>
                    <a:pt x="295" y="308"/>
                    <a:pt x="298" y="312"/>
                  </a:cubicBezTo>
                  <a:cubicBezTo>
                    <a:pt x="300" y="316"/>
                    <a:pt x="442" y="223"/>
                    <a:pt x="445" y="227"/>
                  </a:cubicBezTo>
                  <a:cubicBezTo>
                    <a:pt x="447" y="231"/>
                    <a:pt x="283" y="336"/>
                    <a:pt x="286" y="340"/>
                  </a:cubicBezTo>
                  <a:cubicBezTo>
                    <a:pt x="288" y="344"/>
                    <a:pt x="437" y="246"/>
                    <a:pt x="439" y="252"/>
                  </a:cubicBezTo>
                  <a:cubicBezTo>
                    <a:pt x="442" y="256"/>
                    <a:pt x="277" y="362"/>
                    <a:pt x="280" y="367"/>
                  </a:cubicBezTo>
                  <a:cubicBezTo>
                    <a:pt x="283" y="372"/>
                    <a:pt x="466" y="253"/>
                    <a:pt x="468" y="258"/>
                  </a:cubicBezTo>
                </a:path>
              </a:pathLst>
            </a:custGeom>
            <a:noFill/>
            <a:ln w="39688" cap="rnd">
              <a:solidFill>
                <a:schemeClr val="accent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3" name="Groep 10"/>
            <p:cNvGrpSpPr/>
            <p:nvPr/>
          </p:nvGrpSpPr>
          <p:grpSpPr>
            <a:xfrm>
              <a:off x="4038600" y="2036763"/>
              <a:ext cx="3403600" cy="3679825"/>
              <a:chOff x="4038600" y="2036763"/>
              <a:chExt cx="3403600" cy="3679825"/>
            </a:xfrm>
          </p:grpSpPr>
          <p:sp>
            <p:nvSpPr>
              <p:cNvPr id="9" name="Freeform 6"/>
              <p:cNvSpPr>
                <a:spLocks/>
              </p:cNvSpPr>
              <p:nvPr/>
            </p:nvSpPr>
            <p:spPr bwMode="auto">
              <a:xfrm>
                <a:off x="5359400" y="2052638"/>
                <a:ext cx="1947863" cy="677863"/>
              </a:xfrm>
              <a:custGeom>
                <a:avLst/>
                <a:gdLst>
                  <a:gd name="T0" fmla="*/ 0 w 591"/>
                  <a:gd name="T1" fmla="*/ 197 h 206"/>
                  <a:gd name="T2" fmla="*/ 322 w 591"/>
                  <a:gd name="T3" fmla="*/ 11 h 206"/>
                  <a:gd name="T4" fmla="*/ 67 w 591"/>
                  <a:gd name="T5" fmla="*/ 181 h 206"/>
                  <a:gd name="T6" fmla="*/ 366 w 591"/>
                  <a:gd name="T7" fmla="*/ 8 h 206"/>
                  <a:gd name="T8" fmla="*/ 132 w 591"/>
                  <a:gd name="T9" fmla="*/ 167 h 206"/>
                  <a:gd name="T10" fmla="*/ 390 w 591"/>
                  <a:gd name="T11" fmla="*/ 18 h 206"/>
                  <a:gd name="T12" fmla="*/ 158 w 591"/>
                  <a:gd name="T13" fmla="*/ 173 h 206"/>
                  <a:gd name="T14" fmla="*/ 435 w 591"/>
                  <a:gd name="T15" fmla="*/ 14 h 206"/>
                  <a:gd name="T16" fmla="*/ 185 w 591"/>
                  <a:gd name="T17" fmla="*/ 182 h 206"/>
                  <a:gd name="T18" fmla="*/ 453 w 591"/>
                  <a:gd name="T19" fmla="*/ 28 h 206"/>
                  <a:gd name="T20" fmla="*/ 241 w 591"/>
                  <a:gd name="T21" fmla="*/ 172 h 206"/>
                  <a:gd name="T22" fmla="*/ 500 w 591"/>
                  <a:gd name="T23" fmla="*/ 22 h 206"/>
                  <a:gd name="T24" fmla="*/ 275 w 591"/>
                  <a:gd name="T25" fmla="*/ 174 h 206"/>
                  <a:gd name="T26" fmla="*/ 535 w 591"/>
                  <a:gd name="T27" fmla="*/ 24 h 206"/>
                  <a:gd name="T28" fmla="*/ 313 w 591"/>
                  <a:gd name="T29" fmla="*/ 175 h 206"/>
                  <a:gd name="T30" fmla="*/ 551 w 591"/>
                  <a:gd name="T31" fmla="*/ 38 h 206"/>
                  <a:gd name="T32" fmla="*/ 358 w 591"/>
                  <a:gd name="T33" fmla="*/ 173 h 206"/>
                  <a:gd name="T34" fmla="*/ 588 w 591"/>
                  <a:gd name="T35" fmla="*/ 40 h 206"/>
                  <a:gd name="T36" fmla="*/ 389 w 591"/>
                  <a:gd name="T37" fmla="*/ 180 h 206"/>
                  <a:gd name="T38" fmla="*/ 582 w 591"/>
                  <a:gd name="T39" fmla="*/ 69 h 206"/>
                  <a:gd name="T40" fmla="*/ 439 w 591"/>
                  <a:gd name="T41" fmla="*/ 177 h 206"/>
                  <a:gd name="T42" fmla="*/ 568 w 591"/>
                  <a:gd name="T43" fmla="*/ 102 h 206"/>
                  <a:gd name="T44" fmla="*/ 471 w 591"/>
                  <a:gd name="T45" fmla="*/ 181 h 206"/>
                  <a:gd name="T46" fmla="*/ 558 w 591"/>
                  <a:gd name="T47" fmla="*/ 130 h 206"/>
                  <a:gd name="T48" fmla="*/ 493 w 591"/>
                  <a:gd name="T49" fmla="*/ 193 h 206"/>
                  <a:gd name="T50" fmla="*/ 530 w 591"/>
                  <a:gd name="T51" fmla="*/ 172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91" h="206">
                    <a:moveTo>
                      <a:pt x="0" y="197"/>
                    </a:moveTo>
                    <a:cubicBezTo>
                      <a:pt x="5" y="206"/>
                      <a:pt x="317" y="4"/>
                      <a:pt x="322" y="11"/>
                    </a:cubicBezTo>
                    <a:cubicBezTo>
                      <a:pt x="326" y="19"/>
                      <a:pt x="63" y="174"/>
                      <a:pt x="67" y="181"/>
                    </a:cubicBezTo>
                    <a:cubicBezTo>
                      <a:pt x="71" y="188"/>
                      <a:pt x="361" y="0"/>
                      <a:pt x="366" y="8"/>
                    </a:cubicBezTo>
                    <a:cubicBezTo>
                      <a:pt x="370" y="14"/>
                      <a:pt x="128" y="160"/>
                      <a:pt x="132" y="167"/>
                    </a:cubicBezTo>
                    <a:cubicBezTo>
                      <a:pt x="136" y="175"/>
                      <a:pt x="386" y="10"/>
                      <a:pt x="390" y="18"/>
                    </a:cubicBezTo>
                    <a:cubicBezTo>
                      <a:pt x="393" y="23"/>
                      <a:pt x="154" y="166"/>
                      <a:pt x="158" y="173"/>
                    </a:cubicBezTo>
                    <a:cubicBezTo>
                      <a:pt x="162" y="181"/>
                      <a:pt x="430" y="6"/>
                      <a:pt x="435" y="14"/>
                    </a:cubicBezTo>
                    <a:cubicBezTo>
                      <a:pt x="438" y="20"/>
                      <a:pt x="181" y="176"/>
                      <a:pt x="185" y="182"/>
                    </a:cubicBezTo>
                    <a:cubicBezTo>
                      <a:pt x="189" y="189"/>
                      <a:pt x="448" y="20"/>
                      <a:pt x="453" y="28"/>
                    </a:cubicBezTo>
                    <a:cubicBezTo>
                      <a:pt x="456" y="34"/>
                      <a:pt x="238" y="166"/>
                      <a:pt x="241" y="172"/>
                    </a:cubicBezTo>
                    <a:cubicBezTo>
                      <a:pt x="244" y="177"/>
                      <a:pt x="496" y="15"/>
                      <a:pt x="500" y="22"/>
                    </a:cubicBezTo>
                    <a:cubicBezTo>
                      <a:pt x="503" y="28"/>
                      <a:pt x="272" y="169"/>
                      <a:pt x="275" y="174"/>
                    </a:cubicBezTo>
                    <a:cubicBezTo>
                      <a:pt x="279" y="180"/>
                      <a:pt x="531" y="17"/>
                      <a:pt x="535" y="24"/>
                    </a:cubicBezTo>
                    <a:cubicBezTo>
                      <a:pt x="538" y="30"/>
                      <a:pt x="310" y="170"/>
                      <a:pt x="313" y="175"/>
                    </a:cubicBezTo>
                    <a:cubicBezTo>
                      <a:pt x="316" y="182"/>
                      <a:pt x="547" y="31"/>
                      <a:pt x="551" y="38"/>
                    </a:cubicBezTo>
                    <a:cubicBezTo>
                      <a:pt x="554" y="43"/>
                      <a:pt x="355" y="168"/>
                      <a:pt x="358" y="173"/>
                    </a:cubicBezTo>
                    <a:cubicBezTo>
                      <a:pt x="361" y="179"/>
                      <a:pt x="585" y="35"/>
                      <a:pt x="588" y="40"/>
                    </a:cubicBezTo>
                    <a:cubicBezTo>
                      <a:pt x="591" y="45"/>
                      <a:pt x="387" y="176"/>
                      <a:pt x="389" y="180"/>
                    </a:cubicBezTo>
                    <a:cubicBezTo>
                      <a:pt x="392" y="184"/>
                      <a:pt x="580" y="65"/>
                      <a:pt x="582" y="69"/>
                    </a:cubicBezTo>
                    <a:cubicBezTo>
                      <a:pt x="584" y="72"/>
                      <a:pt x="437" y="173"/>
                      <a:pt x="439" y="177"/>
                    </a:cubicBezTo>
                    <a:cubicBezTo>
                      <a:pt x="441" y="180"/>
                      <a:pt x="567" y="100"/>
                      <a:pt x="568" y="102"/>
                    </a:cubicBezTo>
                    <a:cubicBezTo>
                      <a:pt x="569" y="104"/>
                      <a:pt x="470" y="179"/>
                      <a:pt x="471" y="181"/>
                    </a:cubicBezTo>
                    <a:cubicBezTo>
                      <a:pt x="472" y="183"/>
                      <a:pt x="557" y="129"/>
                      <a:pt x="558" y="130"/>
                    </a:cubicBezTo>
                    <a:cubicBezTo>
                      <a:pt x="559" y="132"/>
                      <a:pt x="491" y="192"/>
                      <a:pt x="493" y="193"/>
                    </a:cubicBezTo>
                    <a:cubicBezTo>
                      <a:pt x="493" y="194"/>
                      <a:pt x="530" y="171"/>
                      <a:pt x="530" y="172"/>
                    </a:cubicBezTo>
                  </a:path>
                </a:pathLst>
              </a:custGeom>
              <a:solidFill>
                <a:schemeClr val="accent6"/>
              </a:solidFill>
              <a:ln w="39688" cap="rnd">
                <a:solidFill>
                  <a:schemeClr val="accent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" name="Freeform 7"/>
              <p:cNvSpPr>
                <a:spLocks/>
              </p:cNvSpPr>
              <p:nvPr/>
            </p:nvSpPr>
            <p:spPr bwMode="auto">
              <a:xfrm>
                <a:off x="4038600" y="2036763"/>
                <a:ext cx="3403600" cy="3679825"/>
              </a:xfrm>
              <a:custGeom>
                <a:avLst/>
                <a:gdLst>
                  <a:gd name="T0" fmla="*/ 321 w 1033"/>
                  <a:gd name="T1" fmla="*/ 64 h 1118"/>
                  <a:gd name="T2" fmla="*/ 400 w 1033"/>
                  <a:gd name="T3" fmla="*/ 40 h 1118"/>
                  <a:gd name="T4" fmla="*/ 463 w 1033"/>
                  <a:gd name="T5" fmla="*/ 27 h 1118"/>
                  <a:gd name="T6" fmla="*/ 527 w 1033"/>
                  <a:gd name="T7" fmla="*/ 15 h 1118"/>
                  <a:gd name="T8" fmla="*/ 571 w 1033"/>
                  <a:gd name="T9" fmla="*/ 11 h 1118"/>
                  <a:gd name="T10" fmla="*/ 603 w 1033"/>
                  <a:gd name="T11" fmla="*/ 17 h 1118"/>
                  <a:gd name="T12" fmla="*/ 625 w 1033"/>
                  <a:gd name="T13" fmla="*/ 25 h 1118"/>
                  <a:gd name="T14" fmla="*/ 675 w 1033"/>
                  <a:gd name="T15" fmla="*/ 18 h 1118"/>
                  <a:gd name="T16" fmla="*/ 330 w 1033"/>
                  <a:gd name="T17" fmla="*/ 240 h 1118"/>
                  <a:gd name="T18" fmla="*/ 265 w 1033"/>
                  <a:gd name="T19" fmla="*/ 301 h 1118"/>
                  <a:gd name="T20" fmla="*/ 247 w 1033"/>
                  <a:gd name="T21" fmla="*/ 332 h 1118"/>
                  <a:gd name="T22" fmla="*/ 197 w 1033"/>
                  <a:gd name="T23" fmla="*/ 383 h 1118"/>
                  <a:gd name="T24" fmla="*/ 185 w 1033"/>
                  <a:gd name="T25" fmla="*/ 414 h 1118"/>
                  <a:gd name="T26" fmla="*/ 186 w 1033"/>
                  <a:gd name="T27" fmla="*/ 435 h 1118"/>
                  <a:gd name="T28" fmla="*/ 175 w 1033"/>
                  <a:gd name="T29" fmla="*/ 465 h 1118"/>
                  <a:gd name="T30" fmla="*/ 189 w 1033"/>
                  <a:gd name="T31" fmla="*/ 478 h 1118"/>
                  <a:gd name="T32" fmla="*/ 163 w 1033"/>
                  <a:gd name="T33" fmla="*/ 518 h 1118"/>
                  <a:gd name="T34" fmla="*/ 164 w 1033"/>
                  <a:gd name="T35" fmla="*/ 543 h 1118"/>
                  <a:gd name="T36" fmla="*/ 173 w 1033"/>
                  <a:gd name="T37" fmla="*/ 561 h 1118"/>
                  <a:gd name="T38" fmla="*/ 165 w 1033"/>
                  <a:gd name="T39" fmla="*/ 589 h 1118"/>
                  <a:gd name="T40" fmla="*/ 164 w 1033"/>
                  <a:gd name="T41" fmla="*/ 614 h 1118"/>
                  <a:gd name="T42" fmla="*/ 174 w 1033"/>
                  <a:gd name="T43" fmla="*/ 632 h 1118"/>
                  <a:gd name="T44" fmla="*/ 204 w 1033"/>
                  <a:gd name="T45" fmla="*/ 636 h 1118"/>
                  <a:gd name="T46" fmla="*/ 205 w 1033"/>
                  <a:gd name="T47" fmla="*/ 659 h 1118"/>
                  <a:gd name="T48" fmla="*/ 186 w 1033"/>
                  <a:gd name="T49" fmla="*/ 693 h 1118"/>
                  <a:gd name="T50" fmla="*/ 193 w 1033"/>
                  <a:gd name="T51" fmla="*/ 714 h 1118"/>
                  <a:gd name="T52" fmla="*/ 205 w 1033"/>
                  <a:gd name="T53" fmla="*/ 730 h 1118"/>
                  <a:gd name="T54" fmla="*/ 221 w 1033"/>
                  <a:gd name="T55" fmla="*/ 744 h 1118"/>
                  <a:gd name="T56" fmla="*/ 238 w 1033"/>
                  <a:gd name="T57" fmla="*/ 759 h 1118"/>
                  <a:gd name="T58" fmla="*/ 247 w 1033"/>
                  <a:gd name="T59" fmla="*/ 777 h 1118"/>
                  <a:gd name="T60" fmla="*/ 257 w 1033"/>
                  <a:gd name="T61" fmla="*/ 793 h 1118"/>
                  <a:gd name="T62" fmla="*/ 273 w 1033"/>
                  <a:gd name="T63" fmla="*/ 807 h 1118"/>
                  <a:gd name="T64" fmla="*/ 306 w 1033"/>
                  <a:gd name="T65" fmla="*/ 811 h 1118"/>
                  <a:gd name="T66" fmla="*/ 289 w 1033"/>
                  <a:gd name="T67" fmla="*/ 845 h 1118"/>
                  <a:gd name="T68" fmla="*/ 339 w 1033"/>
                  <a:gd name="T69" fmla="*/ 841 h 1118"/>
                  <a:gd name="T70" fmla="*/ 358 w 1033"/>
                  <a:gd name="T71" fmla="*/ 854 h 1118"/>
                  <a:gd name="T72" fmla="*/ 356 w 1033"/>
                  <a:gd name="T73" fmla="*/ 880 h 1118"/>
                  <a:gd name="T74" fmla="*/ 394 w 1033"/>
                  <a:gd name="T75" fmla="*/ 881 h 1118"/>
                  <a:gd name="T76" fmla="*/ 414 w 1033"/>
                  <a:gd name="T77" fmla="*/ 891 h 1118"/>
                  <a:gd name="T78" fmla="*/ 445 w 1033"/>
                  <a:gd name="T79" fmla="*/ 897 h 1118"/>
                  <a:gd name="T80" fmla="*/ 443 w 1033"/>
                  <a:gd name="T81" fmla="*/ 921 h 1118"/>
                  <a:gd name="T82" fmla="*/ 483 w 1033"/>
                  <a:gd name="T83" fmla="*/ 919 h 1118"/>
                  <a:gd name="T84" fmla="*/ 515 w 1033"/>
                  <a:gd name="T85" fmla="*/ 923 h 1118"/>
                  <a:gd name="T86" fmla="*/ 516 w 1033"/>
                  <a:gd name="T87" fmla="*/ 945 h 1118"/>
                  <a:gd name="T88" fmla="*/ 572 w 1033"/>
                  <a:gd name="T89" fmla="*/ 936 h 1118"/>
                  <a:gd name="T90" fmla="*/ 608 w 1033"/>
                  <a:gd name="T91" fmla="*/ 939 h 1118"/>
                  <a:gd name="T92" fmla="*/ 654 w 1033"/>
                  <a:gd name="T93" fmla="*/ 933 h 1118"/>
                  <a:gd name="T94" fmla="*/ 705 w 1033"/>
                  <a:gd name="T95" fmla="*/ 926 h 1118"/>
                  <a:gd name="T96" fmla="*/ 1026 w 1033"/>
                  <a:gd name="T97" fmla="*/ 766 h 1118"/>
                  <a:gd name="T98" fmla="*/ 1024 w 1033"/>
                  <a:gd name="T99" fmla="*/ 789 h 1118"/>
                  <a:gd name="T100" fmla="*/ 1021 w 1033"/>
                  <a:gd name="T101" fmla="*/ 814 h 1118"/>
                  <a:gd name="T102" fmla="*/ 998 w 1033"/>
                  <a:gd name="T103" fmla="*/ 850 h 1118"/>
                  <a:gd name="T104" fmla="*/ 996 w 1033"/>
                  <a:gd name="T105" fmla="*/ 874 h 1118"/>
                  <a:gd name="T106" fmla="*/ 975 w 1033"/>
                  <a:gd name="T107" fmla="*/ 909 h 1118"/>
                  <a:gd name="T108" fmla="*/ 958 w 1033"/>
                  <a:gd name="T109" fmla="*/ 943 h 1118"/>
                  <a:gd name="T110" fmla="*/ 949 w 1033"/>
                  <a:gd name="T111" fmla="*/ 973 h 1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033" h="1118">
                    <a:moveTo>
                      <a:pt x="215" y="126"/>
                    </a:moveTo>
                    <a:cubicBezTo>
                      <a:pt x="216" y="128"/>
                      <a:pt x="320" y="62"/>
                      <a:pt x="321" y="64"/>
                    </a:cubicBezTo>
                    <a:cubicBezTo>
                      <a:pt x="323" y="68"/>
                      <a:pt x="162" y="171"/>
                      <a:pt x="165" y="176"/>
                    </a:cubicBezTo>
                    <a:cubicBezTo>
                      <a:pt x="169" y="183"/>
                      <a:pt x="397" y="34"/>
                      <a:pt x="400" y="40"/>
                    </a:cubicBezTo>
                    <a:cubicBezTo>
                      <a:pt x="404" y="47"/>
                      <a:pt x="114" y="217"/>
                      <a:pt x="119" y="225"/>
                    </a:cubicBezTo>
                    <a:cubicBezTo>
                      <a:pt x="123" y="233"/>
                      <a:pt x="458" y="18"/>
                      <a:pt x="463" y="27"/>
                    </a:cubicBezTo>
                    <a:cubicBezTo>
                      <a:pt x="469" y="37"/>
                      <a:pt x="89" y="257"/>
                      <a:pt x="94" y="265"/>
                    </a:cubicBezTo>
                    <a:cubicBezTo>
                      <a:pt x="100" y="275"/>
                      <a:pt x="522" y="6"/>
                      <a:pt x="527" y="15"/>
                    </a:cubicBezTo>
                    <a:cubicBezTo>
                      <a:pt x="534" y="27"/>
                      <a:pt x="55" y="292"/>
                      <a:pt x="62" y="305"/>
                    </a:cubicBezTo>
                    <a:cubicBezTo>
                      <a:pt x="69" y="316"/>
                      <a:pt x="565" y="1"/>
                      <a:pt x="571" y="11"/>
                    </a:cubicBezTo>
                    <a:cubicBezTo>
                      <a:pt x="579" y="25"/>
                      <a:pt x="53" y="317"/>
                      <a:pt x="60" y="330"/>
                    </a:cubicBezTo>
                    <a:cubicBezTo>
                      <a:pt x="67" y="341"/>
                      <a:pt x="594" y="2"/>
                      <a:pt x="603" y="17"/>
                    </a:cubicBezTo>
                    <a:cubicBezTo>
                      <a:pt x="612" y="31"/>
                      <a:pt x="42" y="344"/>
                      <a:pt x="49" y="357"/>
                    </a:cubicBezTo>
                    <a:cubicBezTo>
                      <a:pt x="57" y="372"/>
                      <a:pt x="618" y="13"/>
                      <a:pt x="625" y="25"/>
                    </a:cubicBezTo>
                    <a:cubicBezTo>
                      <a:pt x="634" y="41"/>
                      <a:pt x="30" y="369"/>
                      <a:pt x="39" y="385"/>
                    </a:cubicBezTo>
                    <a:cubicBezTo>
                      <a:pt x="48" y="400"/>
                      <a:pt x="665" y="0"/>
                      <a:pt x="675" y="18"/>
                    </a:cubicBezTo>
                    <a:cubicBezTo>
                      <a:pt x="684" y="34"/>
                      <a:pt x="33" y="390"/>
                      <a:pt x="42" y="406"/>
                    </a:cubicBezTo>
                    <a:cubicBezTo>
                      <a:pt x="47" y="414"/>
                      <a:pt x="325" y="231"/>
                      <a:pt x="330" y="240"/>
                    </a:cubicBezTo>
                    <a:cubicBezTo>
                      <a:pt x="335" y="247"/>
                      <a:pt x="23" y="430"/>
                      <a:pt x="28" y="438"/>
                    </a:cubicBezTo>
                    <a:cubicBezTo>
                      <a:pt x="31" y="443"/>
                      <a:pt x="262" y="295"/>
                      <a:pt x="265" y="301"/>
                    </a:cubicBezTo>
                    <a:cubicBezTo>
                      <a:pt x="269" y="308"/>
                      <a:pt x="9" y="462"/>
                      <a:pt x="12" y="468"/>
                    </a:cubicBezTo>
                    <a:cubicBezTo>
                      <a:pt x="15" y="473"/>
                      <a:pt x="244" y="326"/>
                      <a:pt x="247" y="332"/>
                    </a:cubicBezTo>
                    <a:cubicBezTo>
                      <a:pt x="250" y="338"/>
                      <a:pt x="0" y="488"/>
                      <a:pt x="5" y="495"/>
                    </a:cubicBezTo>
                    <a:cubicBezTo>
                      <a:pt x="7" y="499"/>
                      <a:pt x="194" y="379"/>
                      <a:pt x="197" y="383"/>
                    </a:cubicBezTo>
                    <a:cubicBezTo>
                      <a:pt x="200" y="389"/>
                      <a:pt x="7" y="510"/>
                      <a:pt x="10" y="515"/>
                    </a:cubicBezTo>
                    <a:cubicBezTo>
                      <a:pt x="12" y="519"/>
                      <a:pt x="183" y="410"/>
                      <a:pt x="185" y="414"/>
                    </a:cubicBezTo>
                    <a:cubicBezTo>
                      <a:pt x="187" y="417"/>
                      <a:pt x="25" y="523"/>
                      <a:pt x="27" y="527"/>
                    </a:cubicBezTo>
                    <a:cubicBezTo>
                      <a:pt x="30" y="532"/>
                      <a:pt x="184" y="430"/>
                      <a:pt x="186" y="435"/>
                    </a:cubicBezTo>
                    <a:cubicBezTo>
                      <a:pt x="189" y="440"/>
                      <a:pt x="1" y="558"/>
                      <a:pt x="5" y="563"/>
                    </a:cubicBezTo>
                    <a:cubicBezTo>
                      <a:pt x="7" y="567"/>
                      <a:pt x="173" y="461"/>
                      <a:pt x="175" y="465"/>
                    </a:cubicBezTo>
                    <a:cubicBezTo>
                      <a:pt x="177" y="468"/>
                      <a:pt x="30" y="564"/>
                      <a:pt x="32" y="569"/>
                    </a:cubicBezTo>
                    <a:cubicBezTo>
                      <a:pt x="35" y="573"/>
                      <a:pt x="187" y="474"/>
                      <a:pt x="189" y="478"/>
                    </a:cubicBezTo>
                    <a:cubicBezTo>
                      <a:pt x="192" y="483"/>
                      <a:pt x="29" y="589"/>
                      <a:pt x="32" y="594"/>
                    </a:cubicBezTo>
                    <a:cubicBezTo>
                      <a:pt x="35" y="598"/>
                      <a:pt x="161" y="514"/>
                      <a:pt x="163" y="518"/>
                    </a:cubicBezTo>
                    <a:cubicBezTo>
                      <a:pt x="165" y="522"/>
                      <a:pt x="31" y="615"/>
                      <a:pt x="33" y="619"/>
                    </a:cubicBezTo>
                    <a:cubicBezTo>
                      <a:pt x="35" y="622"/>
                      <a:pt x="162" y="540"/>
                      <a:pt x="164" y="543"/>
                    </a:cubicBezTo>
                    <a:cubicBezTo>
                      <a:pt x="166" y="548"/>
                      <a:pt x="8" y="652"/>
                      <a:pt x="10" y="656"/>
                    </a:cubicBezTo>
                    <a:cubicBezTo>
                      <a:pt x="12" y="660"/>
                      <a:pt x="171" y="558"/>
                      <a:pt x="173" y="561"/>
                    </a:cubicBezTo>
                    <a:cubicBezTo>
                      <a:pt x="176" y="566"/>
                      <a:pt x="32" y="661"/>
                      <a:pt x="34" y="664"/>
                    </a:cubicBezTo>
                    <a:cubicBezTo>
                      <a:pt x="36" y="668"/>
                      <a:pt x="163" y="585"/>
                      <a:pt x="165" y="589"/>
                    </a:cubicBezTo>
                    <a:cubicBezTo>
                      <a:pt x="168" y="594"/>
                      <a:pt x="17" y="694"/>
                      <a:pt x="19" y="698"/>
                    </a:cubicBezTo>
                    <a:cubicBezTo>
                      <a:pt x="22" y="702"/>
                      <a:pt x="162" y="610"/>
                      <a:pt x="164" y="614"/>
                    </a:cubicBezTo>
                    <a:cubicBezTo>
                      <a:pt x="166" y="618"/>
                      <a:pt x="23" y="715"/>
                      <a:pt x="25" y="718"/>
                    </a:cubicBezTo>
                    <a:cubicBezTo>
                      <a:pt x="27" y="721"/>
                      <a:pt x="172" y="628"/>
                      <a:pt x="174" y="632"/>
                    </a:cubicBezTo>
                    <a:cubicBezTo>
                      <a:pt x="177" y="636"/>
                      <a:pt x="29" y="733"/>
                      <a:pt x="30" y="736"/>
                    </a:cubicBezTo>
                    <a:cubicBezTo>
                      <a:pt x="32" y="739"/>
                      <a:pt x="202" y="632"/>
                      <a:pt x="204" y="636"/>
                    </a:cubicBezTo>
                    <a:cubicBezTo>
                      <a:pt x="206" y="640"/>
                      <a:pt x="57" y="739"/>
                      <a:pt x="60" y="743"/>
                    </a:cubicBezTo>
                    <a:cubicBezTo>
                      <a:pt x="61" y="746"/>
                      <a:pt x="203" y="657"/>
                      <a:pt x="205" y="659"/>
                    </a:cubicBezTo>
                    <a:cubicBezTo>
                      <a:pt x="207" y="663"/>
                      <a:pt x="43" y="770"/>
                      <a:pt x="45" y="774"/>
                    </a:cubicBezTo>
                    <a:cubicBezTo>
                      <a:pt x="47" y="777"/>
                      <a:pt x="184" y="690"/>
                      <a:pt x="186" y="693"/>
                    </a:cubicBezTo>
                    <a:cubicBezTo>
                      <a:pt x="187" y="695"/>
                      <a:pt x="73" y="779"/>
                      <a:pt x="75" y="782"/>
                    </a:cubicBezTo>
                    <a:cubicBezTo>
                      <a:pt x="77" y="785"/>
                      <a:pt x="191" y="710"/>
                      <a:pt x="193" y="714"/>
                    </a:cubicBezTo>
                    <a:cubicBezTo>
                      <a:pt x="195" y="717"/>
                      <a:pt x="76" y="800"/>
                      <a:pt x="78" y="803"/>
                    </a:cubicBezTo>
                    <a:cubicBezTo>
                      <a:pt x="80" y="806"/>
                      <a:pt x="203" y="726"/>
                      <a:pt x="205" y="730"/>
                    </a:cubicBezTo>
                    <a:cubicBezTo>
                      <a:pt x="207" y="734"/>
                      <a:pt x="76" y="824"/>
                      <a:pt x="77" y="827"/>
                    </a:cubicBezTo>
                    <a:cubicBezTo>
                      <a:pt x="80" y="831"/>
                      <a:pt x="219" y="741"/>
                      <a:pt x="221" y="744"/>
                    </a:cubicBezTo>
                    <a:cubicBezTo>
                      <a:pt x="222" y="747"/>
                      <a:pt x="107" y="829"/>
                      <a:pt x="109" y="833"/>
                    </a:cubicBezTo>
                    <a:cubicBezTo>
                      <a:pt x="111" y="836"/>
                      <a:pt x="236" y="755"/>
                      <a:pt x="238" y="759"/>
                    </a:cubicBezTo>
                    <a:cubicBezTo>
                      <a:pt x="240" y="762"/>
                      <a:pt x="99" y="858"/>
                      <a:pt x="101" y="862"/>
                    </a:cubicBezTo>
                    <a:cubicBezTo>
                      <a:pt x="103" y="865"/>
                      <a:pt x="245" y="773"/>
                      <a:pt x="247" y="777"/>
                    </a:cubicBezTo>
                    <a:cubicBezTo>
                      <a:pt x="249" y="780"/>
                      <a:pt x="130" y="861"/>
                      <a:pt x="132" y="865"/>
                    </a:cubicBezTo>
                    <a:cubicBezTo>
                      <a:pt x="134" y="868"/>
                      <a:pt x="255" y="790"/>
                      <a:pt x="257" y="793"/>
                    </a:cubicBezTo>
                    <a:cubicBezTo>
                      <a:pt x="259" y="797"/>
                      <a:pt x="124" y="888"/>
                      <a:pt x="126" y="892"/>
                    </a:cubicBezTo>
                    <a:cubicBezTo>
                      <a:pt x="128" y="895"/>
                      <a:pt x="271" y="804"/>
                      <a:pt x="273" y="807"/>
                    </a:cubicBezTo>
                    <a:cubicBezTo>
                      <a:pt x="275" y="810"/>
                      <a:pt x="146" y="899"/>
                      <a:pt x="148" y="902"/>
                    </a:cubicBezTo>
                    <a:cubicBezTo>
                      <a:pt x="149" y="905"/>
                      <a:pt x="304" y="808"/>
                      <a:pt x="306" y="811"/>
                    </a:cubicBezTo>
                    <a:cubicBezTo>
                      <a:pt x="307" y="814"/>
                      <a:pt x="165" y="912"/>
                      <a:pt x="167" y="916"/>
                    </a:cubicBezTo>
                    <a:cubicBezTo>
                      <a:pt x="169" y="919"/>
                      <a:pt x="287" y="841"/>
                      <a:pt x="289" y="845"/>
                    </a:cubicBezTo>
                    <a:cubicBezTo>
                      <a:pt x="291" y="848"/>
                      <a:pt x="159" y="941"/>
                      <a:pt x="161" y="944"/>
                    </a:cubicBezTo>
                    <a:cubicBezTo>
                      <a:pt x="162" y="947"/>
                      <a:pt x="337" y="837"/>
                      <a:pt x="339" y="841"/>
                    </a:cubicBezTo>
                    <a:cubicBezTo>
                      <a:pt x="341" y="845"/>
                      <a:pt x="190" y="945"/>
                      <a:pt x="193" y="949"/>
                    </a:cubicBezTo>
                    <a:cubicBezTo>
                      <a:pt x="195" y="953"/>
                      <a:pt x="357" y="851"/>
                      <a:pt x="358" y="854"/>
                    </a:cubicBezTo>
                    <a:cubicBezTo>
                      <a:pt x="360" y="857"/>
                      <a:pt x="224" y="951"/>
                      <a:pt x="226" y="955"/>
                    </a:cubicBezTo>
                    <a:cubicBezTo>
                      <a:pt x="228" y="959"/>
                      <a:pt x="354" y="876"/>
                      <a:pt x="356" y="880"/>
                    </a:cubicBezTo>
                    <a:cubicBezTo>
                      <a:pt x="359" y="885"/>
                      <a:pt x="216" y="978"/>
                      <a:pt x="218" y="982"/>
                    </a:cubicBezTo>
                    <a:cubicBezTo>
                      <a:pt x="221" y="986"/>
                      <a:pt x="391" y="876"/>
                      <a:pt x="394" y="881"/>
                    </a:cubicBezTo>
                    <a:cubicBezTo>
                      <a:pt x="396" y="885"/>
                      <a:pt x="248" y="982"/>
                      <a:pt x="250" y="986"/>
                    </a:cubicBezTo>
                    <a:cubicBezTo>
                      <a:pt x="253" y="990"/>
                      <a:pt x="412" y="888"/>
                      <a:pt x="414" y="891"/>
                    </a:cubicBezTo>
                    <a:cubicBezTo>
                      <a:pt x="416" y="895"/>
                      <a:pt x="258" y="999"/>
                      <a:pt x="261" y="1003"/>
                    </a:cubicBezTo>
                    <a:cubicBezTo>
                      <a:pt x="263" y="1007"/>
                      <a:pt x="443" y="893"/>
                      <a:pt x="445" y="897"/>
                    </a:cubicBezTo>
                    <a:cubicBezTo>
                      <a:pt x="447" y="901"/>
                      <a:pt x="278" y="1010"/>
                      <a:pt x="280" y="1014"/>
                    </a:cubicBezTo>
                    <a:cubicBezTo>
                      <a:pt x="283" y="1019"/>
                      <a:pt x="441" y="917"/>
                      <a:pt x="443" y="921"/>
                    </a:cubicBezTo>
                    <a:cubicBezTo>
                      <a:pt x="445" y="925"/>
                      <a:pt x="296" y="1022"/>
                      <a:pt x="299" y="1026"/>
                    </a:cubicBezTo>
                    <a:cubicBezTo>
                      <a:pt x="301" y="1030"/>
                      <a:pt x="481" y="915"/>
                      <a:pt x="483" y="919"/>
                    </a:cubicBezTo>
                    <a:cubicBezTo>
                      <a:pt x="486" y="925"/>
                      <a:pt x="316" y="1031"/>
                      <a:pt x="319" y="1036"/>
                    </a:cubicBezTo>
                    <a:cubicBezTo>
                      <a:pt x="322" y="1042"/>
                      <a:pt x="513" y="919"/>
                      <a:pt x="515" y="923"/>
                    </a:cubicBezTo>
                    <a:cubicBezTo>
                      <a:pt x="518" y="928"/>
                      <a:pt x="327" y="1048"/>
                      <a:pt x="330" y="1052"/>
                    </a:cubicBezTo>
                    <a:cubicBezTo>
                      <a:pt x="333" y="1058"/>
                      <a:pt x="513" y="939"/>
                      <a:pt x="516" y="945"/>
                    </a:cubicBezTo>
                    <a:cubicBezTo>
                      <a:pt x="519" y="949"/>
                      <a:pt x="347" y="1060"/>
                      <a:pt x="350" y="1064"/>
                    </a:cubicBezTo>
                    <a:cubicBezTo>
                      <a:pt x="352" y="1069"/>
                      <a:pt x="569" y="932"/>
                      <a:pt x="572" y="936"/>
                    </a:cubicBezTo>
                    <a:cubicBezTo>
                      <a:pt x="575" y="941"/>
                      <a:pt x="392" y="1057"/>
                      <a:pt x="395" y="1062"/>
                    </a:cubicBezTo>
                    <a:cubicBezTo>
                      <a:pt x="398" y="1067"/>
                      <a:pt x="605" y="934"/>
                      <a:pt x="608" y="939"/>
                    </a:cubicBezTo>
                    <a:cubicBezTo>
                      <a:pt x="611" y="943"/>
                      <a:pt x="406" y="1069"/>
                      <a:pt x="409" y="1074"/>
                    </a:cubicBezTo>
                    <a:cubicBezTo>
                      <a:pt x="412" y="1080"/>
                      <a:pt x="650" y="927"/>
                      <a:pt x="654" y="933"/>
                    </a:cubicBezTo>
                    <a:cubicBezTo>
                      <a:pt x="657" y="939"/>
                      <a:pt x="438" y="1074"/>
                      <a:pt x="440" y="1079"/>
                    </a:cubicBezTo>
                    <a:cubicBezTo>
                      <a:pt x="443" y="1084"/>
                      <a:pt x="701" y="919"/>
                      <a:pt x="705" y="926"/>
                    </a:cubicBezTo>
                    <a:cubicBezTo>
                      <a:pt x="709" y="933"/>
                      <a:pt x="467" y="1082"/>
                      <a:pt x="470" y="1087"/>
                    </a:cubicBezTo>
                    <a:cubicBezTo>
                      <a:pt x="476" y="1098"/>
                      <a:pt x="1017" y="750"/>
                      <a:pt x="1026" y="766"/>
                    </a:cubicBezTo>
                    <a:cubicBezTo>
                      <a:pt x="1033" y="777"/>
                      <a:pt x="496" y="1074"/>
                      <a:pt x="504" y="1089"/>
                    </a:cubicBezTo>
                    <a:cubicBezTo>
                      <a:pt x="512" y="1102"/>
                      <a:pt x="1015" y="774"/>
                      <a:pt x="1024" y="789"/>
                    </a:cubicBezTo>
                    <a:cubicBezTo>
                      <a:pt x="1032" y="804"/>
                      <a:pt x="526" y="1086"/>
                      <a:pt x="532" y="1097"/>
                    </a:cubicBezTo>
                    <a:cubicBezTo>
                      <a:pt x="539" y="1110"/>
                      <a:pt x="1014" y="803"/>
                      <a:pt x="1021" y="814"/>
                    </a:cubicBezTo>
                    <a:cubicBezTo>
                      <a:pt x="1026" y="823"/>
                      <a:pt x="572" y="1078"/>
                      <a:pt x="580" y="1091"/>
                    </a:cubicBezTo>
                    <a:cubicBezTo>
                      <a:pt x="586" y="1102"/>
                      <a:pt x="993" y="841"/>
                      <a:pt x="998" y="850"/>
                    </a:cubicBezTo>
                    <a:cubicBezTo>
                      <a:pt x="1005" y="861"/>
                      <a:pt x="586" y="1096"/>
                      <a:pt x="593" y="1107"/>
                    </a:cubicBezTo>
                    <a:cubicBezTo>
                      <a:pt x="599" y="1118"/>
                      <a:pt x="990" y="863"/>
                      <a:pt x="996" y="874"/>
                    </a:cubicBezTo>
                    <a:cubicBezTo>
                      <a:pt x="1001" y="882"/>
                      <a:pt x="638" y="1092"/>
                      <a:pt x="643" y="1100"/>
                    </a:cubicBezTo>
                    <a:cubicBezTo>
                      <a:pt x="647" y="1107"/>
                      <a:pt x="969" y="899"/>
                      <a:pt x="975" y="909"/>
                    </a:cubicBezTo>
                    <a:cubicBezTo>
                      <a:pt x="979" y="915"/>
                      <a:pt x="695" y="1086"/>
                      <a:pt x="699" y="1093"/>
                    </a:cubicBezTo>
                    <a:cubicBezTo>
                      <a:pt x="703" y="1100"/>
                      <a:pt x="955" y="937"/>
                      <a:pt x="958" y="943"/>
                    </a:cubicBezTo>
                    <a:cubicBezTo>
                      <a:pt x="962" y="948"/>
                      <a:pt x="738" y="1086"/>
                      <a:pt x="741" y="1092"/>
                    </a:cubicBezTo>
                    <a:cubicBezTo>
                      <a:pt x="744" y="1097"/>
                      <a:pt x="946" y="969"/>
                      <a:pt x="949" y="973"/>
                    </a:cubicBezTo>
                  </a:path>
                </a:pathLst>
              </a:custGeom>
              <a:noFill/>
              <a:ln w="39688" cap="rnd">
                <a:solidFill>
                  <a:schemeClr val="accent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sp>
        <p:nvSpPr>
          <p:cNvPr id="11" name="Rechthoek 10"/>
          <p:cNvSpPr/>
          <p:nvPr/>
        </p:nvSpPr>
        <p:spPr>
          <a:xfrm>
            <a:off x="7963381" y="497724"/>
            <a:ext cx="3912661" cy="2430685"/>
          </a:xfrm>
          <a:prstGeom prst="rect">
            <a:avLst/>
          </a:prstGeom>
          <a:solidFill>
            <a:schemeClr val="tx1">
              <a:alpha val="59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Tekstvak 11"/>
          <p:cNvSpPr txBox="1"/>
          <p:nvPr/>
        </p:nvSpPr>
        <p:spPr>
          <a:xfrm>
            <a:off x="8125428" y="717643"/>
            <a:ext cx="3622877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</a:rPr>
              <a:t>One-time protected the </a:t>
            </a:r>
            <a:r>
              <a:rPr lang="en-US" sz="2800" dirty="0">
                <a:solidFill>
                  <a:schemeClr val="accent6"/>
                </a:solidFill>
              </a:rPr>
              <a:t>Defensive Lines </a:t>
            </a:r>
            <a:r>
              <a:rPr lang="en-US" sz="2800" dirty="0">
                <a:solidFill>
                  <a:schemeClr val="bg1"/>
                </a:solidFill>
              </a:rPr>
              <a:t>of Amsterdam residents against human enemy’s</a:t>
            </a:r>
            <a:endParaRPr lang="nl-NL" sz="2800" dirty="0">
              <a:solidFill>
                <a:schemeClr val="bg1"/>
              </a:solidFill>
            </a:endParaRPr>
          </a:p>
        </p:txBody>
      </p:sp>
      <p:sp>
        <p:nvSpPr>
          <p:cNvPr id="15" name="Rechthoek 14"/>
          <p:cNvSpPr/>
          <p:nvPr/>
        </p:nvSpPr>
        <p:spPr>
          <a:xfrm>
            <a:off x="7963381" y="3252498"/>
            <a:ext cx="3912661" cy="2858935"/>
          </a:xfrm>
          <a:prstGeom prst="rect">
            <a:avLst/>
          </a:prstGeom>
          <a:solidFill>
            <a:schemeClr val="tx1">
              <a:alpha val="59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6" name="Tekstvak 15"/>
          <p:cNvSpPr txBox="1"/>
          <p:nvPr/>
        </p:nvSpPr>
        <p:spPr>
          <a:xfrm>
            <a:off x="8125428" y="3472416"/>
            <a:ext cx="3622877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</a:rPr>
              <a:t>By upgrading the old Defensive Lines with our special </a:t>
            </a:r>
            <a:r>
              <a:rPr lang="en-US" sz="2800" dirty="0">
                <a:solidFill>
                  <a:schemeClr val="accent6"/>
                </a:solidFill>
              </a:rPr>
              <a:t>Plant concepts </a:t>
            </a:r>
            <a:r>
              <a:rPr lang="en-US" sz="2800" dirty="0">
                <a:solidFill>
                  <a:schemeClr val="bg1"/>
                </a:solidFill>
              </a:rPr>
              <a:t>we are ready for our new enemy……..</a:t>
            </a:r>
            <a:endParaRPr lang="nl-NL" sz="280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3322981"/>
      </p:ext>
    </p:extLst>
  </p:cSld>
  <p:clrMapOvr>
    <a:masterClrMapping/>
  </p:clrMapOvr>
  <p:transition spd="slow" advTm="1500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250"/>
                            </p:stCondLst>
                            <p:childTnLst>
                              <p:par>
                                <p:cTn id="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25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/>
      <p:bldP spid="15" grpId="0" animBg="1"/>
      <p:bldP spid="1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fff21889db3f0d85468e8ba88f8d261b29fade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6|4.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6.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.6|13.8|6"/>
</p:tagLst>
</file>

<file path=ppt/theme/theme1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860</TotalTime>
  <Words>284</Words>
  <Application>Microsoft Office PowerPoint</Application>
  <PresentationFormat>Breedbeeld</PresentationFormat>
  <Paragraphs>63</Paragraphs>
  <Slides>28</Slides>
  <Notes>0</Notes>
  <HiddenSlides>0</HiddenSlides>
  <MMClips>1</MMClips>
  <ScaleCrop>false</ScaleCrop>
  <HeadingPairs>
    <vt:vector size="8" baseType="variant">
      <vt:variant>
        <vt:lpstr>Gebruikte lettertypen</vt:lpstr>
      </vt:variant>
      <vt:variant>
        <vt:i4>5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28</vt:i4>
      </vt:variant>
    </vt:vector>
  </HeadingPairs>
  <TitlesOfParts>
    <vt:vector size="36" baseType="lpstr">
      <vt:lpstr>Arial</vt:lpstr>
      <vt:lpstr>Calibri</vt:lpstr>
      <vt:lpstr>Calibri Light</vt:lpstr>
      <vt:lpstr>Times New Roman</vt:lpstr>
      <vt:lpstr>Wingdings</vt:lpstr>
      <vt:lpstr>Kantoorthema</vt:lpstr>
      <vt:lpstr>1_Kantoorthema</vt:lpstr>
      <vt:lpstr>think-cell Slid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Our new enemy….</vt:lpstr>
      <vt:lpstr>PowerPoint-presentatie</vt:lpstr>
      <vt:lpstr>PowerPoint-presentatie</vt:lpstr>
      <vt:lpstr>PowerPoint-presentatie</vt:lpstr>
      <vt:lpstr>Specially cultivated native plants with new growth properties for the futur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Overarching collective project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Sander Reijn</dc:creator>
  <cp:lastModifiedBy>Ton van Oostwaard</cp:lastModifiedBy>
  <cp:revision>112</cp:revision>
  <dcterms:created xsi:type="dcterms:W3CDTF">2014-11-27T14:18:04Z</dcterms:created>
  <dcterms:modified xsi:type="dcterms:W3CDTF">2017-02-06T23:35:23Z</dcterms:modified>
</cp:coreProperties>
</file>